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314" r:id="rId5"/>
    <p:sldId id="326" r:id="rId6"/>
    <p:sldId id="263" r:id="rId7"/>
    <p:sldId id="324" r:id="rId8"/>
    <p:sldId id="319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21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42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862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484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103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726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347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8966" algn="l" defTabSz="548621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696" userDrawn="1">
          <p15:clr>
            <a:srgbClr val="A4A3A4"/>
          </p15:clr>
        </p15:guide>
        <p15:guide id="2" pos="201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94C91"/>
    <a:srgbClr val="BBB3B0"/>
    <a:srgbClr val="6E6E6E"/>
    <a:srgbClr val="00B0DC"/>
    <a:srgbClr val="595959"/>
    <a:srgbClr val="88A7B2"/>
    <a:srgbClr val="0095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9432E1-7814-4B13-8A8B-08C6FBAB448C}" v="7" dt="2022-03-23T11:20:56.776"/>
    <p1510:client id="{34CEE1ED-D1C5-500A-1FCE-80DD07041D90}" v="598" dt="2022-03-21T12:24:43.900"/>
    <p1510:client id="{3F782B28-E6E2-4A49-9EF6-11F560EE5153}" v="19" dt="2022-03-23T17:00:52.967"/>
    <p1510:client id="{3FDFC4E6-C515-4FA4-BD49-F710FF5852DA}" v="16" dt="2021-12-15T17:20:01.226"/>
    <p1510:client id="{6AD56A02-9B3C-4B0B-9CCB-A1B25B57DBFD}" vWet="2" dt="2022-03-23T17:00:05.132"/>
    <p1510:client id="{79F4D7E1-0AB1-47D1-BDA2-FC0569CCFE9A}" v="242" dt="2022-03-21T14:37:36.771"/>
    <p1510:client id="{7E1B5575-0FAF-4535-8A6C-D4AD08423EA5}" v="191" dt="2022-03-23T17:20:43.111"/>
  </p1510:revLst>
</p1510:revInfo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300" autoAdjust="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696"/>
        <p:guide pos="201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773680" cy="586661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sz="11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625639" y="1"/>
            <a:ext cx="2773680" cy="586661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F7239EF8-DB3E-49CC-93ED-040A7E57E32C}" type="datetime1">
              <a:rPr lang="en-GB" sz="1100"/>
              <a:t>15/06/2022</a:t>
            </a:fld>
            <a:endParaRPr lang="en-US" sz="11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1144516"/>
            <a:ext cx="2773680" cy="586661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sz="11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25639" y="11144516"/>
            <a:ext cx="2773680" cy="586661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202A19A6-3B51-4749-8262-104C6DE8CA64}" type="slidenum">
              <a:rPr lang="en-US" sz="1100"/>
              <a:pPr/>
              <a:t>‹#›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13503983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>
            <a:extLst>
              <a:ext uri="{FF2B5EF4-FFF2-40B4-BE49-F238E27FC236}">
                <a16:creationId xmlns:a16="http://schemas.microsoft.com/office/drawing/2014/main" id="{5FA6D11F-F258-47DC-AA17-F04D346116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9" name="Slide Image Placeholder 8">
            <a:extLst>
              <a:ext uri="{FF2B5EF4-FFF2-40B4-BE49-F238E27FC236}">
                <a16:creationId xmlns:a16="http://schemas.microsoft.com/office/drawing/2014/main" id="{833A2E8C-155C-47C0-997E-A00A4B9C6D9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2503C62-796E-4A05-A957-8685B41C9BA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764B0FE2-4911-4C71-BCA1-66424B3805F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3AF1A09F-A119-4BA9-944A-C4D85A4A9757}" type="datetimeFigureOut">
              <a:rPr lang="en-GB" smtClean="0"/>
              <a:pPr/>
              <a:t>15/06/2022</a:t>
            </a:fld>
            <a:endParaRPr lang="en-GB"/>
          </a:p>
        </p:txBody>
      </p:sp>
      <p:sp>
        <p:nvSpPr>
          <p:cNvPr id="12" name="Notes Placeholder 11">
            <a:extLst>
              <a:ext uri="{FF2B5EF4-FFF2-40B4-BE49-F238E27FC236}">
                <a16:creationId xmlns:a16="http://schemas.microsoft.com/office/drawing/2014/main" id="{F5ACC868-6A32-41ED-8169-01133D2A0B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76C13BE-7366-4CA1-837C-F0D429BCD6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2BFBE73-B85A-4D87-905E-4FEF515E3EF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15715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548621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1pPr>
    <a:lvl2pPr marL="548621" indent="0" algn="l" defTabSz="548621" rtl="0" eaLnBrk="1" latinLnBrk="0" hangingPunct="1">
      <a:buFont typeface="Arial" pitchFamily="34" charset="0"/>
      <a:buNone/>
      <a:defRPr sz="1440" kern="1200">
        <a:solidFill>
          <a:schemeClr val="tx1"/>
        </a:solidFill>
        <a:latin typeface="+mn-lt"/>
        <a:ea typeface="+mn-ea"/>
        <a:cs typeface="+mn-cs"/>
      </a:defRPr>
    </a:lvl2pPr>
    <a:lvl3pPr marL="1097242" indent="0" algn="l" defTabSz="548621" rtl="0" eaLnBrk="1" latinLnBrk="0" hangingPunct="1">
      <a:buFont typeface="Arial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645862" indent="0" algn="l" defTabSz="548621" rtl="0" eaLnBrk="1" latinLnBrk="0" hangingPunct="1">
      <a:buFont typeface="Arial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194484" indent="0" algn="l" defTabSz="548621" rtl="0" eaLnBrk="1" latinLnBrk="0" hangingPunct="1">
      <a:buFont typeface="Arial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743103" algn="l" defTabSz="548621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6pPr>
    <a:lvl7pPr marL="3291726" algn="l" defTabSz="548621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7pPr>
    <a:lvl8pPr marL="3840347" algn="l" defTabSz="548621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8pPr>
    <a:lvl9pPr marL="4388966" algn="l" defTabSz="548621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73BE9B25-2CB7-43B6-8A33-83F0EC7BB6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7244B7E0-2411-4CD0-A69F-987CFE0E85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44794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BFBE73-B85A-4D87-905E-4FEF515E3EF2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0251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A75941F3-B4E6-4A9B-A839-119325936B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28EEF458-995F-45F2-B51B-712CD9470FB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354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4C54C931-07D5-4124-86D2-C21CA6229F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AEDA999-B205-4A41-80C7-A7F81D3539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7262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4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949389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4926457" y="0"/>
            <a:ext cx="7265543" cy="6845276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accent5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bg1"/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accent5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C94871-1278-4C9D-8FE4-92A94538EC1C}"/>
              </a:ext>
            </a:extLst>
          </p:cNvPr>
          <p:cNvGrpSpPr/>
          <p:nvPr userDrawn="1"/>
        </p:nvGrpSpPr>
        <p:grpSpPr>
          <a:xfrm>
            <a:off x="1533524" y="369094"/>
            <a:ext cx="2243139" cy="606869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8ED2CFF3-8D2B-4D37-BCA7-ECF1D6193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C11B633-41CA-4745-B60C-C77BAB1EE0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92877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 userDrawn="1">
          <p15:clr>
            <a:srgbClr val="FBAE40"/>
          </p15:clr>
        </p15:guide>
        <p15:guide id="2" pos="3659" userDrawn="1">
          <p15:clr>
            <a:srgbClr val="FBAE40"/>
          </p15:clr>
        </p15:guide>
        <p15:guide id="3" pos="778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765043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0C8456C9-98B9-4B92-A9A4-9A0FFCE1751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99213" y="1830388"/>
            <a:ext cx="4967287" cy="4191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65D8F-5853-4213-A499-47CFC77993B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368E036-9C4C-4396-9444-5A589716F3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93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ith Sub hea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944948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4963552" cy="9070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C1D5F55-2691-47AF-8B04-7C6A7A77DC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370756-D056-4567-AAA8-F01FC46FB9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36BE3-5129-43BD-8534-2B1949CCA0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880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543618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E5C3AB9-69FD-4C4F-8D38-537257DD2F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D9BB4E4-A757-4FA8-BD51-8A76F8814B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5220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41198B-7822-4395-9D3F-40CE6DC01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750335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41198B-7822-4395-9D3F-40CE6DC01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BB9E0B-F9DD-4869-B2C0-64A92559BA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5BA2E3-82B7-4C36-9767-793A81D6BD3A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C2378D1-8F5C-4092-8710-DD705A3E84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5B8A1A-F1D3-443F-B5D4-76D5F0DBDD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297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A702FF-1FBA-4017-9DB9-C02D09C91C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66001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A702FF-1FBA-4017-9DB9-C02D09C9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A72EFE-A939-4314-9B37-CFBB34A6B5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6CF783-739F-44F7-AB7E-B1400EF40E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911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53680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21"/>
            <a:ext cx="12192000" cy="617981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924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C70547-57E7-43AE-8B74-42412D44DC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7362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C70547-57E7-43AE-8B74-42412D44DC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21"/>
            <a:ext cx="12192000" cy="685797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BD1446-BADE-496E-A120-409A271657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841E6B-1A10-4CB5-A9B6-2036ABE3C1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917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3508192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 marL="2057400" marR="0" indent="-2057400" algn="l" defTabSz="54861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None/>
              <a:tabLst/>
              <a:defRPr/>
            </a:lvl1pPr>
            <a:lvl2pPr marL="236212" indent="0">
              <a:buNone/>
              <a:defRPr/>
            </a:lvl2pPr>
            <a:lvl3pPr marL="496872" indent="0">
              <a:buNone/>
              <a:defRPr/>
            </a:lvl3pPr>
          </a:lstStyle>
          <a:p>
            <a:pPr lvl="0"/>
            <a:r>
              <a:rPr lang="en-GB"/>
              <a:t>00.00 – 00.00	Part o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9237" y="577216"/>
            <a:ext cx="4963552" cy="90709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Agenda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519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403DDC-E99F-4F5C-9DB8-4CB79AB57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9726713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403DDC-E99F-4F5C-9DB8-4CB79AB57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600FB-64F8-427B-971C-CADB5FAA63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5D5D76E-3B21-4346-8387-3ECEA55A7AF8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25499" y="2753429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FBA4834-1B47-48FA-B341-B048E3128FB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5499" y="482269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D3F43B7-3974-4835-A8E9-FAB67672FB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75298" y="275501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D2E8FF-F2DE-4D53-A047-6387A71314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5298" y="4824285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9F8303-B8B6-4740-9407-07CFA2BE53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725097" y="2753429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5FBF798-2395-4DEA-893B-0A69A9C4E0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725097" y="4822697"/>
            <a:ext cx="2640000" cy="913576"/>
          </a:xfrm>
        </p:spPr>
        <p:txBody>
          <a:bodyPr lIns="0" tIns="0" rIns="0" bIns="0">
            <a:noAutofit/>
          </a:bodyPr>
          <a:lstStyle>
            <a:lvl1pPr marL="0" indent="0" eaLnBrk="1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3D80F3-4A3C-487A-BDD1-1179B87AD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C487C7-5173-42A6-959E-EA91A12A5B8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EDB19D-C3B2-48FD-864B-FA498F61F2C3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2" name="Plassholder for tekst 13">
            <a:extLst>
              <a:ext uri="{FF2B5EF4-FFF2-40B4-BE49-F238E27FC236}">
                <a16:creationId xmlns:a16="http://schemas.microsoft.com/office/drawing/2014/main" id="{5B1FC8BA-51AF-415E-A4F8-0349DAF4E4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75298" y="1830389"/>
            <a:ext cx="2640000" cy="719594"/>
          </a:xfrm>
          <a:blipFill dpi="0" rotWithShape="0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C79AF395-5DA0-43BE-964A-9D760C68CFD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9236" y="1830389"/>
            <a:ext cx="2640000" cy="719594"/>
          </a:xfrm>
          <a:blipFill dpi="0" rotWithShape="0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4" name="Plassholder for tekst 13">
            <a:extLst>
              <a:ext uri="{FF2B5EF4-FFF2-40B4-BE49-F238E27FC236}">
                <a16:creationId xmlns:a16="http://schemas.microsoft.com/office/drawing/2014/main" id="{6F856F4B-C1E9-4A7E-ADC8-9BF349BDF8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6500" y="1830389"/>
            <a:ext cx="2640000" cy="719594"/>
          </a:xfrm>
          <a:blipFill dpi="0" rotWithShape="0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5" name="Plassholder for tekst 13">
            <a:extLst>
              <a:ext uri="{FF2B5EF4-FFF2-40B4-BE49-F238E27FC236}">
                <a16:creationId xmlns:a16="http://schemas.microsoft.com/office/drawing/2014/main" id="{1FAF68DD-F083-4112-AEE7-A6FF3667E23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76000" y="3898068"/>
            <a:ext cx="2640000" cy="719594"/>
          </a:xfrm>
          <a:blipFill dpi="0" rotWithShape="0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6" name="Plassholder for tekst 13">
            <a:extLst>
              <a:ext uri="{FF2B5EF4-FFF2-40B4-BE49-F238E27FC236}">
                <a16:creationId xmlns:a16="http://schemas.microsoft.com/office/drawing/2014/main" id="{A3BE0F03-ED02-4E92-AF74-B8C0C2010E1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9938" y="3898068"/>
            <a:ext cx="2640000" cy="719594"/>
          </a:xfrm>
          <a:blipFill dpi="0" rotWithShape="0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47" name="Plassholder for tekst 13">
            <a:extLst>
              <a:ext uri="{FF2B5EF4-FFF2-40B4-BE49-F238E27FC236}">
                <a16:creationId xmlns:a16="http://schemas.microsoft.com/office/drawing/2014/main" id="{56563C9C-49B1-46FC-BD14-AF22D17F3E9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27202" y="3898068"/>
            <a:ext cx="2640000" cy="719594"/>
          </a:xfrm>
          <a:blipFill dpi="0" rotWithShape="0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 t="97000"/>
            </a:stretch>
          </a:blipFill>
          <a:ln>
            <a:noFill/>
          </a:ln>
        </p:spPr>
        <p:txBody>
          <a:bodyPr wrap="square" bIns="3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351342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914511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027498F8-B643-49CA-B711-9895BAAEF51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5944DA81-A1C5-4AC7-A37D-7026E9D402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39063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1651574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20C8F6-248D-4C3E-87B3-1E76EE1E9591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accent5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33F1287C-318B-4F40-9FF1-E19D09469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5" y="4368356"/>
            <a:ext cx="4860925" cy="427979"/>
          </a:xfrm>
          <a:solidFill>
            <a:schemeClr val="bg1"/>
          </a:solidFill>
        </p:spPr>
        <p:txBody>
          <a:bodyPr wrap="square"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accent5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8B993E-BF37-4D48-AD6A-25908C6899FA}"/>
              </a:ext>
            </a:extLst>
          </p:cNvPr>
          <p:cNvGrpSpPr/>
          <p:nvPr userDrawn="1"/>
        </p:nvGrpSpPr>
        <p:grpSpPr>
          <a:xfrm>
            <a:off x="1533524" y="369094"/>
            <a:ext cx="2243139" cy="606869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41D9DD3B-C3F8-4D09-9824-43A4FB97D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8A26939-CABE-4692-9903-32D6323ADF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6982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02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8248824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30393"/>
            <a:ext cx="4284663" cy="2271708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99E99776-DDA5-4531-9FAA-7E1F063C97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4" y="4368356"/>
            <a:ext cx="4860926" cy="427979"/>
          </a:xfrm>
          <a:solidFill>
            <a:schemeClr val="accent2">
              <a:lumMod val="60000"/>
              <a:lumOff val="40000"/>
            </a:schemeClr>
          </a:solidFill>
        </p:spPr>
        <p:txBody>
          <a:bodyPr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600" cap="all" baseline="0">
                <a:solidFill>
                  <a:schemeClr val="tx2"/>
                </a:solidFill>
              </a:defRPr>
            </a:lvl1pPr>
            <a:lvl2pPr marL="5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8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6223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425057-A686-4E31-B8A1-F9DA3356A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870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425057-A686-4E31-B8A1-F9DA3356A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60EACD11-8C82-4B33-9818-2E9B80C745F4}"/>
              </a:ext>
            </a:extLst>
          </p:cNvPr>
          <p:cNvSpPr/>
          <p:nvPr userDrawn="1"/>
        </p:nvSpPr>
        <p:spPr>
          <a:xfrm>
            <a:off x="0" y="0"/>
            <a:ext cx="6096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07FF22D-3C6C-48BB-8040-D34A9441D6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35076" y="1484313"/>
            <a:ext cx="3636962" cy="4127919"/>
          </a:xfrm>
          <a:blipFill dpi="0" rotWithShape="0"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 t="-10000" b="98000"/>
            </a:stretch>
          </a:blipFill>
        </p:spPr>
        <p:txBody>
          <a:bodyPr lIns="0" tIns="288000" rIns="0" bIns="0">
            <a:noAutofit/>
          </a:bodyPr>
          <a:lstStyle>
            <a:lvl1pPr marL="0" indent="0" eaLnBrk="1">
              <a:lnSpc>
                <a:spcPct val="100000"/>
              </a:lnSpc>
              <a:buNone/>
              <a:defRPr sz="3200" b="1">
                <a:solidFill>
                  <a:schemeClr val="tx2"/>
                </a:solidFill>
              </a:defRPr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C69016-ED83-4DA8-8515-95C6620C560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41C938-DD81-4B48-A39A-291BD5BE17D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CA222-7E26-47F7-846B-8C915D47E00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1404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165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78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06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141410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4926457" y="0"/>
            <a:ext cx="7265543" cy="6845276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1235074" y="2"/>
            <a:ext cx="4860926" cy="47947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944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 userDrawn="1"/>
        </p:nvGrpSpPr>
        <p:grpSpPr>
          <a:xfrm>
            <a:off x="1533524" y="3103453"/>
            <a:ext cx="2243139" cy="606869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DD640D-0C8B-4171-936E-345748646807}"/>
              </a:ext>
            </a:extLst>
          </p:cNvPr>
          <p:cNvSpPr txBox="1"/>
          <p:nvPr userDrawn="1"/>
        </p:nvSpPr>
        <p:spPr>
          <a:xfrm>
            <a:off x="1524001" y="4342961"/>
            <a:ext cx="4284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1709606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71639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7CE9B5C-501B-458A-9AAE-82BC7915415C}"/>
              </a:ext>
            </a:extLst>
          </p:cNvPr>
          <p:cNvCxnSpPr>
            <a:cxnSpLocks/>
          </p:cNvCxnSpPr>
          <p:nvPr userDrawn="1"/>
        </p:nvCxnSpPr>
        <p:spPr>
          <a:xfrm>
            <a:off x="1524000" y="4211993"/>
            <a:ext cx="4284663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D9D3D84-F3BF-4AAA-85BD-3D14ACE849EC}"/>
              </a:ext>
            </a:extLst>
          </p:cNvPr>
          <p:cNvGrpSpPr/>
          <p:nvPr userDrawn="1"/>
        </p:nvGrpSpPr>
        <p:grpSpPr>
          <a:xfrm>
            <a:off x="1533524" y="3103453"/>
            <a:ext cx="2243139" cy="606869"/>
            <a:chOff x="1533524" y="369094"/>
            <a:chExt cx="2243139" cy="606869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C99FE193-D0A4-440E-B317-9F342F4AF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3542199-FD88-48AE-AE87-02D8A29F14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93BBD505-94FE-43B7-9059-CF1DF297CA36}"/>
              </a:ext>
            </a:extLst>
          </p:cNvPr>
          <p:cNvSpPr txBox="1"/>
          <p:nvPr userDrawn="1"/>
        </p:nvSpPr>
        <p:spPr>
          <a:xfrm>
            <a:off x="1524001" y="4342961"/>
            <a:ext cx="428466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</a:p>
        </p:txBody>
      </p:sp>
    </p:spTree>
    <p:extLst>
      <p:ext uri="{BB962C8B-B14F-4D97-AF65-F5344CB8AC3E}">
        <p14:creationId xmlns:p14="http://schemas.microsoft.com/office/powerpoint/2010/main" val="294016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156182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291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4325194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6" y="1836492"/>
            <a:ext cx="10541633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6" y="2241549"/>
            <a:ext cx="10541633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691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908791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6AFC8A-F573-4DCA-AAB1-789495D6F80D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6" y="1830707"/>
            <a:ext cx="10536555" cy="4191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3268226-9F81-47A5-AC33-CAD42162848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FB7FD7-1337-425B-A227-B659A64CE1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45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 with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6639370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F6C0BA-F5D8-4B1E-938B-E4EFD61EBD27}"/>
              </a:ext>
            </a:extLst>
          </p:cNvPr>
          <p:cNvSpPr/>
          <p:nvPr userDrawn="1"/>
        </p:nvSpPr>
        <p:spPr>
          <a:xfrm>
            <a:off x="0" y="0"/>
            <a:ext cx="12192000" cy="61407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6" y="1836492"/>
            <a:ext cx="10541633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6" y="2241549"/>
            <a:ext cx="10541633" cy="378015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83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910814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9E18CF8-020B-4471-89E6-85F54EEEFE1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98898" y="1830707"/>
            <a:ext cx="496633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A561E1-8545-4FA9-9BDC-392506752B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054F62-0B85-4EBD-84A4-5D56AA871C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788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 userDrawn="1">
          <p15:clr>
            <a:srgbClr val="FBAE40"/>
          </p15:clr>
        </p15:guide>
        <p15:guide id="2" pos="403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9676322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D6846DB-97DE-4779-AAF7-AC1F34F0DE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1830707"/>
            <a:ext cx="4968240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C8A05AB-16D4-4417-A29E-1217E774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9213" y="3175"/>
            <a:ext cx="5792787" cy="685482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3B4242-62B9-435B-86D3-DEEA7ACF2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37" y="577216"/>
            <a:ext cx="4963552" cy="9070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ABC70E0-D795-488D-8AC2-298449E2BE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5E9F28C-9388-465B-9107-6F50B2EE6B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636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 hea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79842B-328E-48E5-A8AD-9FA4153DC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091216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79842B-328E-48E5-A8AD-9FA4153DC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504A2E-16A1-4BDB-9009-5884D2D84A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0205BF-614A-4FF4-B68F-73A2FB770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6D988C0-0AE4-4DB3-9F88-FF6ED774C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4867" y="1836492"/>
            <a:ext cx="4968240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851DCF0-9768-4EEE-9C12-5CAFCAFF4C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98898" y="1836492"/>
            <a:ext cx="4966336" cy="286653"/>
          </a:xfrm>
        </p:spPr>
        <p:txBody>
          <a:bodyPr anchor="t" anchorCtr="0">
            <a:noAutofit/>
          </a:bodyPr>
          <a:lstStyle>
            <a:lvl1pPr marL="0" indent="0">
              <a:buNone/>
              <a:defRPr sz="1680" b="1">
                <a:solidFill>
                  <a:schemeClr val="accent1"/>
                </a:solidFill>
              </a:defRPr>
            </a:lvl1pPr>
            <a:lvl2pPr marL="548610" indent="0">
              <a:buNone/>
              <a:defRPr sz="2400" b="1"/>
            </a:lvl2pPr>
            <a:lvl3pPr marL="1097221" indent="0">
              <a:buNone/>
              <a:defRPr sz="2160" b="1"/>
            </a:lvl3pPr>
            <a:lvl4pPr marL="1645831" indent="0">
              <a:buNone/>
              <a:defRPr sz="1920" b="1"/>
            </a:lvl4pPr>
            <a:lvl5pPr marL="2194440" indent="0">
              <a:buNone/>
              <a:defRPr sz="1920" b="1"/>
            </a:lvl5pPr>
            <a:lvl6pPr marL="2743051" indent="0">
              <a:buNone/>
              <a:defRPr sz="1920" b="1"/>
            </a:lvl6pPr>
            <a:lvl7pPr marL="3291660" indent="0">
              <a:buNone/>
              <a:defRPr sz="1920" b="1"/>
            </a:lvl7pPr>
            <a:lvl8pPr marL="3840269" indent="0">
              <a:buNone/>
              <a:defRPr sz="1920" b="1"/>
            </a:lvl8pPr>
            <a:lvl9pPr marL="4388877" indent="0">
              <a:buNone/>
              <a:defRPr sz="192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AF58B951-C044-493D-B770-735176E2ECC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4867" y="2241549"/>
            <a:ext cx="4968240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5" name="Content Placeholder 12">
            <a:extLst>
              <a:ext uri="{FF2B5EF4-FFF2-40B4-BE49-F238E27FC236}">
                <a16:creationId xmlns:a16="http://schemas.microsoft.com/office/drawing/2014/main" id="{3279856D-28DF-4275-908D-D6BF96710C7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98898" y="2241549"/>
            <a:ext cx="4966335" cy="378015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0613B91-D51F-4517-9FD9-E02C90581D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4D521D-8276-4EFD-AA23-E75A917270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095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649">
          <p15:clr>
            <a:srgbClr val="FBAE40"/>
          </p15:clr>
        </p15:guide>
        <p15:guide id="2" pos="4031">
          <p15:clr>
            <a:srgbClr val="FBAE40"/>
          </p15:clr>
        </p15:guide>
        <p15:guide id="3" orient="horz" pos="141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77721A6-BD6A-4708-8340-32907EB1D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278259823"/>
              </p:ext>
            </p:extLst>
          </p:nvPr>
        </p:nvGraphicFramePr>
        <p:xfrm>
          <a:off x="1905" y="1905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77721A6-BD6A-4708-8340-32907EB1D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E6A9C7A-2E23-48C6-AD30-0D78302C1A59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2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9236" y="577216"/>
            <a:ext cx="10535861" cy="9070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239" y="1830707"/>
            <a:ext cx="10537900" cy="419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48031" y="6319500"/>
            <a:ext cx="4446000" cy="3651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 eaLnBrk="1">
              <a:defRPr sz="100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9236" y="6319500"/>
            <a:ext cx="452320" cy="3651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B727649-DA60-4222-B58B-0786112CEE78}"/>
              </a:ext>
            </a:extLst>
          </p:cNvPr>
          <p:cNvGrpSpPr/>
          <p:nvPr userDrawn="1"/>
        </p:nvGrpSpPr>
        <p:grpSpPr>
          <a:xfrm>
            <a:off x="10323364" y="6340537"/>
            <a:ext cx="1047345" cy="283354"/>
            <a:chOff x="1533524" y="369094"/>
            <a:chExt cx="2243139" cy="606869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EB54AED3-C389-47FA-B373-818250A15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82BC5DF-C636-48C9-A020-1643C098A7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4" name="MSIPCMContentMarking" descr="{&quot;HashCode&quot;:1708055397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BD1F017F-CB19-4081-8AFE-8AE1F67799BB}"/>
              </a:ext>
            </a:extLst>
          </p:cNvPr>
          <p:cNvSpPr txBox="1"/>
          <p:nvPr userDrawn="1"/>
        </p:nvSpPr>
        <p:spPr>
          <a:xfrm>
            <a:off x="0" y="6640354"/>
            <a:ext cx="99461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0000"/>
            </a:pPr>
            <a:r>
              <a:rPr lang="en-GB" sz="8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atkraft Internal</a:t>
            </a:r>
          </a:p>
        </p:txBody>
      </p:sp>
    </p:spTree>
    <p:extLst>
      <p:ext uri="{BB962C8B-B14F-4D97-AF65-F5344CB8AC3E}">
        <p14:creationId xmlns:p14="http://schemas.microsoft.com/office/powerpoint/2010/main" val="1750577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650" r:id="rId3"/>
    <p:sldLayoutId id="2147483711" r:id="rId4"/>
    <p:sldLayoutId id="2147483707" r:id="rId5"/>
    <p:sldLayoutId id="2147483712" r:id="rId6"/>
    <p:sldLayoutId id="2147483652" r:id="rId7"/>
    <p:sldLayoutId id="2147483706" r:id="rId8"/>
    <p:sldLayoutId id="2147483708" r:id="rId9"/>
    <p:sldLayoutId id="2147483709" r:id="rId10"/>
    <p:sldLayoutId id="2147483710" r:id="rId11"/>
    <p:sldLayoutId id="2147483654" r:id="rId12"/>
    <p:sldLayoutId id="2147483702" r:id="rId13"/>
    <p:sldLayoutId id="2147483655" r:id="rId14"/>
    <p:sldLayoutId id="2147483678" r:id="rId15"/>
    <p:sldLayoutId id="2147483714" r:id="rId16"/>
    <p:sldLayoutId id="2147483713" r:id="rId17"/>
    <p:sldLayoutId id="2147483670" r:id="rId18"/>
    <p:sldLayoutId id="2147483699" r:id="rId19"/>
    <p:sldLayoutId id="2147483701" r:id="rId20"/>
    <p:sldLayoutId id="2147483705" r:id="rId21"/>
    <p:sldLayoutId id="2147483703" r:id="rId22"/>
    <p:sldLayoutId id="2147483704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548610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accent5"/>
          </a:solidFill>
          <a:latin typeface="Arial"/>
          <a:ea typeface="+mj-ea"/>
          <a:cs typeface="Arial"/>
        </a:defRPr>
      </a:lvl1pPr>
    </p:titleStyle>
    <p:bodyStyle>
      <a:lvl1pPr marL="215993" indent="-215993" algn="l" defTabSz="54861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Arial"/>
          <a:ea typeface="+mn-ea"/>
          <a:cs typeface="Arial"/>
        </a:defRPr>
      </a:lvl1pPr>
      <a:lvl2pPr marL="473075" indent="-236538" algn="l" defTabSz="54861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110000"/>
        <a:buFont typeface="Arial" panose="020B0604020202020204" pitchFamily="34" charset="0"/>
        <a:buChar char="-"/>
        <a:defRPr sz="1800" kern="1200">
          <a:solidFill>
            <a:schemeClr val="accent5"/>
          </a:solidFill>
          <a:latin typeface="Arial"/>
          <a:ea typeface="+mn-ea"/>
          <a:cs typeface="Arial"/>
        </a:defRPr>
      </a:lvl2pPr>
      <a:lvl3pPr marL="691176" indent="-194304" algn="l" defTabSz="54861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3pPr>
      <a:lvl4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4pPr>
      <a:lvl5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Arial"/>
          <a:ea typeface="+mn-ea"/>
          <a:cs typeface="Arial"/>
        </a:defRPr>
      </a:lvl5pPr>
      <a:lvl6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6pPr>
      <a:lvl7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7pPr>
      <a:lvl8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8pPr>
      <a:lvl9pPr marL="691200" indent="-194400" algn="l" defTabSz="548610" rtl="0" eaLnBrk="1" latinLnBrk="0" hangingPunct="1">
        <a:spcBef>
          <a:spcPts val="600"/>
        </a:spcBef>
        <a:buClr>
          <a:schemeClr val="bg2"/>
        </a:buClr>
        <a:buFont typeface="Arial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1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2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3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44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051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660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269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877" algn="l" defTabSz="54861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4" userDrawn="1">
          <p15:clr>
            <a:srgbClr val="F26B43"/>
          </p15:clr>
        </p15:guide>
        <p15:guide id="2" pos="520" userDrawn="1">
          <p15:clr>
            <a:srgbClr val="F26B43"/>
          </p15:clr>
        </p15:guide>
        <p15:guide id="3" pos="7160" userDrawn="1">
          <p15:clr>
            <a:srgbClr val="F26B43"/>
          </p15:clr>
        </p15:guide>
        <p15:guide id="4" orient="horz" pos="1153" userDrawn="1">
          <p15:clr>
            <a:srgbClr val="F26B43"/>
          </p15:clr>
        </p15:guide>
        <p15:guide id="5" orient="horz" pos="3793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hyperlink" Target="mailto:Doug.Wilson@smithyhouseassociates.co.uk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6" Type="http://schemas.openxmlformats.org/officeDocument/2006/relationships/hyperlink" Target="mailto:ruth.semple@statkraft.com" TargetMode="External"/><Relationship Id="rId5" Type="http://schemas.openxmlformats.org/officeDocument/2006/relationships/hyperlink" Target="mailto:Lloyd.godwin@statkraft.com" TargetMode="External"/><Relationship Id="rId4" Type="http://schemas.openxmlformats.org/officeDocument/2006/relationships/hyperlink" Target="mailto:jess.antas@statkraft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5C7472-0122-498F-A4B5-9F1E63460D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769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5C7472-0122-498F-A4B5-9F1E63460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DD394A-FC17-4EB0-88B8-28BEA14BD3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GB" sz="3600" b="1">
              <a:solidFill>
                <a:schemeClr val="accent5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Placeholder 4">
            <a:extLst>
              <a:ext uri="{FF2B5EF4-FFF2-40B4-BE49-F238E27FC236}">
                <a16:creationId xmlns:a16="http://schemas.microsoft.com/office/drawing/2014/main" id="{14BC3046-0EFC-4050-8760-3DE5EC2D8B0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43F5658-C739-4D25-925A-FB50074B64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9969"/>
            <a:ext cx="4484784" cy="2972132"/>
          </a:xfrm>
        </p:spPr>
        <p:txBody>
          <a:bodyPr/>
          <a:lstStyle/>
          <a:p>
            <a:r>
              <a:rPr lang="en-GB" dirty="0"/>
              <a:t>Appin</a:t>
            </a:r>
            <a:br>
              <a:rPr lang="en-GB" dirty="0"/>
            </a:br>
            <a:r>
              <a:rPr lang="en-GB" dirty="0"/>
              <a:t>Wind Farm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sz="1600" dirty="0">
                <a:solidFill>
                  <a:schemeClr val="tx2"/>
                </a:solidFill>
              </a:rPr>
              <a:t>www.appinwindfarm.co.uk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8C35756-DDD0-47DF-854A-321EB5CAAC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075" y="4368356"/>
            <a:ext cx="4860925" cy="427979"/>
          </a:xfrm>
        </p:spPr>
        <p:txBody>
          <a:bodyPr vert="horz" wrap="square" lIns="288000" tIns="0" rIns="288000" bIns="180000" rtlCol="0" anchor="t">
            <a:spAutoFit/>
          </a:bodyPr>
          <a:lstStyle/>
          <a:p>
            <a:r>
              <a:rPr lang="en-GB" dirty="0"/>
              <a:t>March 2022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3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D4484E-96D3-42F0-8552-020454F0CC1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152" y="1082007"/>
            <a:ext cx="6532684" cy="6120781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endParaRPr lang="en-GB" dirty="0"/>
          </a:p>
          <a:p>
            <a:pPr marL="215900" indent="-215900">
              <a:spcBef>
                <a:spcPts val="0"/>
              </a:spcBef>
              <a:spcAft>
                <a:spcPts val="800"/>
              </a:spcAft>
            </a:pPr>
            <a:r>
              <a:rPr lang="en-GB" sz="1800" dirty="0"/>
              <a:t>Project at Scoping stage. Scoping live 24 March 22. </a:t>
            </a:r>
          </a:p>
          <a:p>
            <a:pPr marL="0" indent="0">
              <a:spcBef>
                <a:spcPts val="0"/>
              </a:spcBef>
              <a:spcAft>
                <a:spcPts val="800"/>
              </a:spcAft>
              <a:buNone/>
            </a:pPr>
            <a:endParaRPr lang="en-GB" sz="1800" dirty="0"/>
          </a:p>
          <a:p>
            <a:pPr marL="215900" indent="-215900">
              <a:spcBef>
                <a:spcPts val="0"/>
              </a:spcBef>
              <a:spcAft>
                <a:spcPts val="800"/>
              </a:spcAft>
            </a:pPr>
            <a:r>
              <a:rPr lang="en-GB" sz="1800" dirty="0"/>
              <a:t>Site boundary approx. 12.5km to west of Thornhill and 7km north-west of the village of </a:t>
            </a:r>
            <a:r>
              <a:rPr lang="en-GB" sz="1800" dirty="0" err="1"/>
              <a:t>Moniaive</a:t>
            </a:r>
            <a:r>
              <a:rPr lang="en-GB" sz="1800" dirty="0"/>
              <a:t>.</a:t>
            </a:r>
          </a:p>
          <a:p>
            <a:pPr marL="0" indent="0">
              <a:spcBef>
                <a:spcPts val="0"/>
              </a:spcBef>
              <a:spcAft>
                <a:spcPts val="800"/>
              </a:spcAft>
              <a:buNone/>
            </a:pPr>
            <a:endParaRPr lang="en-GB" sz="1800" dirty="0"/>
          </a:p>
          <a:p>
            <a:pPr marL="215900" indent="-215900">
              <a:spcBef>
                <a:spcPts val="600"/>
              </a:spcBef>
            </a:pPr>
            <a:r>
              <a:rPr lang="en-GB" sz="1800" dirty="0"/>
              <a:t>Proposing a maximum of up to 25 wind turbines.</a:t>
            </a:r>
          </a:p>
          <a:p>
            <a:pPr marL="0" indent="0">
              <a:spcBef>
                <a:spcPts val="600"/>
              </a:spcBef>
              <a:buNone/>
            </a:pPr>
            <a:endParaRPr lang="en-GB" sz="1800" dirty="0"/>
          </a:p>
          <a:p>
            <a:pPr marL="215900" indent="-215900">
              <a:spcBef>
                <a:spcPts val="600"/>
              </a:spcBef>
            </a:pPr>
            <a:r>
              <a:rPr lang="en-GB" sz="1800" dirty="0"/>
              <a:t>Considering turbines up to 230 metres to blade tip height. </a:t>
            </a:r>
          </a:p>
          <a:p>
            <a:pPr marL="0" indent="0">
              <a:spcBef>
                <a:spcPts val="600"/>
              </a:spcBef>
              <a:buNone/>
            </a:pPr>
            <a:endParaRPr lang="en-GB" sz="1800" dirty="0"/>
          </a:p>
          <a:p>
            <a:pPr marL="215900" indent="-215900">
              <a:spcBef>
                <a:spcPts val="600"/>
              </a:spcBef>
            </a:pPr>
            <a:r>
              <a:rPr lang="en-GB" sz="1800" dirty="0"/>
              <a:t>Project will have an installed capacity greater than 50 MW.</a:t>
            </a:r>
          </a:p>
          <a:p>
            <a:pPr marL="0" indent="0">
              <a:spcBef>
                <a:spcPts val="600"/>
              </a:spcBef>
              <a:buNone/>
            </a:pPr>
            <a:endParaRPr lang="en-GB" sz="1800" dirty="0"/>
          </a:p>
          <a:p>
            <a:pPr marL="215900" indent="-215900">
              <a:spcBef>
                <a:spcPts val="600"/>
              </a:spcBef>
            </a:pPr>
            <a:r>
              <a:rPr lang="en-GB" sz="1800" dirty="0"/>
              <a:t>Project size to be determined as studies are completed, consultation feedback received, and future design milestones reached.</a:t>
            </a:r>
          </a:p>
          <a:p>
            <a:pPr marL="0" indent="0">
              <a:spcBef>
                <a:spcPts val="600"/>
              </a:spcBef>
              <a:buNone/>
            </a:pPr>
            <a:endParaRPr lang="en-GB" dirty="0"/>
          </a:p>
          <a:p>
            <a:pPr marL="0" indent="0">
              <a:spcBef>
                <a:spcPts val="600"/>
              </a:spcBef>
              <a:buNone/>
            </a:pPr>
            <a:endParaRPr lang="en-GB" dirty="0">
              <a:highlight>
                <a:srgbClr val="FFFF00"/>
              </a:highlight>
            </a:endParaRPr>
          </a:p>
          <a:p>
            <a:pPr marL="0" indent="0">
              <a:spcBef>
                <a:spcPts val="600"/>
              </a:spcBef>
              <a:buNone/>
            </a:pPr>
            <a:endParaRPr lang="en-GB" sz="800" dirty="0"/>
          </a:p>
          <a:p>
            <a:pPr marL="0" indent="0">
              <a:spcBef>
                <a:spcPts val="600"/>
              </a:spcBef>
              <a:buNone/>
            </a:pP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9F2FA-FC5A-496C-82F0-5BB492E617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10FB6B22-ADD2-4D3C-8160-711D94BE4D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692" y="0"/>
            <a:ext cx="5683096" cy="906463"/>
          </a:xfrm>
          <a:noFill/>
        </p:spPr>
        <p:txBody>
          <a:bodyPr/>
          <a:lstStyle/>
          <a:p>
            <a:pPr algn="ctr">
              <a:spcBef>
                <a:spcPts val="0"/>
              </a:spcBef>
            </a:pPr>
            <a:r>
              <a:rPr lang="en-GB" dirty="0"/>
              <a:t>About the Site</a:t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Site Location &amp; Potential</a:t>
            </a:r>
            <a:br>
              <a:rPr lang="en-GB" dirty="0"/>
            </a:br>
            <a:endParaRPr lang="en-GB" dirty="0"/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F05821D8-1BEC-4BBE-BA4B-FF46D572858C}"/>
              </a:ext>
            </a:extLst>
          </p:cNvPr>
          <p:cNvSpPr/>
          <p:nvPr/>
        </p:nvSpPr>
        <p:spPr>
          <a:xfrm>
            <a:off x="11319030" y="4243526"/>
            <a:ext cx="71022" cy="62144"/>
          </a:xfrm>
          <a:prstGeom prst="flowChartConnector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GB" sz="1600">
              <a:solidFill>
                <a:schemeClr val="accent5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E504C8-CA6E-2668-6A3F-054EBC04E990}"/>
              </a:ext>
            </a:extLst>
          </p:cNvPr>
          <p:cNvSpPr txBox="1"/>
          <p:nvPr/>
        </p:nvSpPr>
        <p:spPr>
          <a:xfrm rot="-3180000">
            <a:off x="7264261" y="678541"/>
            <a:ext cx="568681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 dirty="0">
                <a:solidFill>
                  <a:schemeClr val="accent5"/>
                </a:solidFill>
                <a:highlight>
                  <a:srgbClr val="FFFF00"/>
                </a:highlight>
                <a:latin typeface="Arial"/>
                <a:cs typeface="Arial"/>
              </a:rPr>
              <a:t>Update Maps from scoping</a:t>
            </a:r>
          </a:p>
        </p:txBody>
      </p:sp>
      <p:pic>
        <p:nvPicPr>
          <p:cNvPr id="2" name="Picture 2" descr="Map&#10;&#10;Description automatically generated">
            <a:extLst>
              <a:ext uri="{FF2B5EF4-FFF2-40B4-BE49-F238E27FC236}">
                <a16:creationId xmlns:a16="http://schemas.microsoft.com/office/drawing/2014/main" id="{398ADF90-57F7-945D-D82E-AA055012B8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4549" y="1110028"/>
            <a:ext cx="5434517" cy="5310775"/>
          </a:xfrm>
          <a:prstGeom prst="rect">
            <a:avLst/>
          </a:prstGeom>
        </p:spPr>
      </p:pic>
      <p:pic>
        <p:nvPicPr>
          <p:cNvPr id="3" name="Picture 7">
            <a:extLst>
              <a:ext uri="{FF2B5EF4-FFF2-40B4-BE49-F238E27FC236}">
                <a16:creationId xmlns:a16="http://schemas.microsoft.com/office/drawing/2014/main" id="{8A72CBC9-B52F-08B2-5E2D-18D2984C6C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7349" y="187865"/>
            <a:ext cx="2600325" cy="742950"/>
          </a:xfrm>
          <a:prstGeom prst="rect">
            <a:avLst/>
          </a:prstGeom>
        </p:spPr>
      </p:pic>
      <p:pic>
        <p:nvPicPr>
          <p:cNvPr id="8" name="Picture 8" descr="Text&#10;&#10;Description automatically generated">
            <a:extLst>
              <a:ext uri="{FF2B5EF4-FFF2-40B4-BE49-F238E27FC236}">
                <a16:creationId xmlns:a16="http://schemas.microsoft.com/office/drawing/2014/main" id="{3E68F1D5-A186-6CE6-048C-1F47F0374F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68382" y="143078"/>
            <a:ext cx="2161364" cy="84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025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70AB74-14C6-4AFA-A081-BDC2F469B5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14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6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70AB74-14C6-4AFA-A081-BDC2F469B5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ED99EF-C1C0-419F-8CB4-F11792A6996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GB" sz="3200" b="1">
              <a:solidFill>
                <a:schemeClr val="accent5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C17687-FB16-4D26-B5E0-23E35A8551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AutoShape 19" descr="data:image/jpg;base64,%20/9j/4AAQSkZJRgABAQEAYABgAAD/2wBDAAUDBAQEAwUEBAQFBQUGBwwIBwcHBw8LCwkMEQ8SEhEPERETFhwXExQaFRERGCEYGh0dHx8fExciJCIeJBweHx7/2wBDAQUFBQcGBw4ICA4eFBEUHh4eHh4eHh4eHh4eHh4eHh4eHh4eHh4eHh4eHh4eHh4eHh4eHh4eHh4eHh4eHh4eHh7/wAARCAJTAsk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37w94d0fWBq19qdtNc3LazfoZGu5h8q3DqoADgAAAAY9Kyr/wno1veSw/Z7nCtxm+n6dv466vwN/x4ap/2HNR/wDSqSmeKIdt3HMP+Wi4P1FAHIf8I1o3/Pvcf+B0/wD8XR/wjWjf8+9x/wCB0/8A8XWlcXNvbvCs8yRtPJ5UQY43vgnaPfAP5VNQBlxeGtExITbXBwnGb2frkD+/71H/AMI1o3/Pvcf+B0//AMXW5b7d5RuA4259D2P54p1taz3EjRxJkr97JwF+poAwf+Ea0b/n3uP/AAOn/wDi6P8AhGtG/wCfe4/8Dp//AIuugMNsn37ree4jTP6nFR291ZyReZDbM43MuZXz0JHQY9KAMm28MaH88slvcFEHQ3s/zMeg+/8A5xUQ8NaNkf6Pcf8AgbP/APF1v/aQy+XLBGY85AQbSPfPf8c0JbiZsWz7z12MMN/gaAOV0jw9pMumW8kkN0zsmSTfT5P/AI/Vr/hGtG/597j/AMDp/wD4ureh/wDIItv9yrtAHOyaRoMd79lksdRHy7jKLm4MY4J5If2x+IqGWz8MRyzRtaaopiZwxaW5C4Xdk534x8h/SupDMOjEfQ1QSDU40ljXU2limleR1mUPtBfIRc9F2/KR+NAFLTrLwotvcXEunanLt+RMy3JQHjk/Pz1HSm3eleHAjzx2OpCBGRM/aJ8sWJGcCT1ByO3ArTtLXxNJbzXK+II7cWwEvlJACoUZJxnvjjPt2yaj1Oz1sahFJDrJR4BMrAoNsm4/IWA4OB19yT7UAZ6aHocjhUtL4qQ5En2q4C/L1H3+tT2PhrR7yGN47O8UzMFjD3k4J46/f6c/oa0LBb6OIre3v2psLg7AuCBz09TWtpzH7Wzbj+7gcqfQ7f8AE0AYF94b0ATmOC1nCR/Lu+3T5Y9z9+q//CNaN/z73H/gdP8A/F1r0tAHP6h4d0mOBWSG5U+agyL6foWGf46s/wDCNaN/z73H/gdP/wDF1c1T/j2T/rtH/wChCie/gjuTapvlucbvKQZIB6EnoBQBS/4RrRv+fe4/8Dp//i6D4b0X/n3uP/A6f/4urqw3Up3T3JiGf9XDgcehYjJP0xSiwtScyoZ29ZWL/oeB+FAGDqWiaI1t/okjeZn7o1Gcl/YbXJ646CtDwZ4btNR1aT7TYs9lDGRJ/pE6qrnGFBZ95IAOSfWtRIYYzmOKND6qoFX/AAMWGuazHuKriFguThsg5b25/nQBd/4Qnwv/ANAx/wDwMn/+Lo/4Qnwv/wBAx/8AwMn/APi66GigDnv+EJ8L/wDQMf8A8DJ//i6juvB/ha3tpbhtJmdY0LFUu5yxA9Bv610tFAHn+jaZ4T12a4i0rR7mM2pInF3JdRk5U7dh34PzAZ9s1mDwfqB1K7t202xEi6c72228n2yTcBcqZOBknJz2969UrO/5mYf9eJ/9GCgDiF8GyLOVvNLt/KdxEphvJxnc6jcP3hIIXccZ7V03/CFeF/8AoGP/AOBk/wD8XWve5a7so1YD96XYdyFU/wBSKtUAc9/whPhf/oGP/wCBk/8A8XR/whPhf/oGP/4GT/8Axdb8siRRPLI21EUsx9ABkms7RnupoLbz2b9xAqSknmSbaN2fYc/j9KAKP/CE+F/+gY//AIGT/wDxdH/CE+F/+gY//gZP/wDF10NFAHPf8IT4X/6Bj/8AgZP/APF0f8IT4X/6Bj/+Bk//AMXXQ0UAc9/whPhf/oGP/wCBk/8A8XR/whPhf/oGP/4GT/8AxddDRQBy9l4M8MvE5bTpCRLIObyfoHIH8fpU/wDwhPhf/oGP/wCBk/8A8XWzp/8AqX/67y/+jGqxQBz3/CE+F/8AoGP/AOBk/wD8XR/whXhccnTWAHUm8n/+Lroaq6sW/s+VFXcZMRgeu4hf60Ac7pHgvw82nRPcadIztuYE3k+dpYlc/P124q3/AMIT4X/6Bj/+Bk//AMXXQgADCjAHAA7CigDnv+EJ8L/9Ax//AAMn/wDi6qW3gzw5czm4/s6RLdCVjUXs/wC8PILH5+noPx9MdW7rGjSNnaoLHHoKp6DbyWui2VvMwaRIEDkdC2OT+dAGX/whPhf/AKBj/wDgZP8A/F0f8IT4X/6Bj/8AgZP/APF10NFAHMX3gzwylqzLp0inK8i8n/vD/bqc+CfC+f8AkGP/AOBk/wD8XWxqP/Hm/wDvL/6EKsnrQBzv/CE+F/8AoGP/AOBk/wD8XR/whPhf/oGP/wCBk/8A8XXQ0UAc9/whPhf/AKBj/wDgZP8A/F0f8IT4X/6Bj/8AgZP/APF10NFAHPf8IT4X/wCgY/8A4GT/APxdH/CE+F/+gY//AIGT/wDxddDRQBz3/CE+F/8AoGP/AOBk/wD8XR/whPhf/oGP/wCBk/8A8XXQ0UAc3N4P8JwxNLNp5RF6s17Pj/0OsuXwfotxrFoi6dNa2rJIxU3k++TG3r8/y/z+ldXNGZNZh3ANHHAzAHoH3AA/XGeaS5/5Dll/1xm/9loAzP8AhCfC/wD0DH/8DJ//AIuj/hCfC/8A0DH/APAyf/4uuhqlHfebqZs4oyVQHzHPY+g/GgDL/wCEJ8L/APQMf/wMn/8Ai6R/A/hdhtOmygZB+W9uAeD/AL9dFRQB5xdeG9GiUQfYJVYDDsbycsWHB/j45Hbtiobfw3oguI91rcMu8ZBvZ+Rn/froPEC+Xrcq+WyiRFdTjhuAGx75xmqYODn05oApL4V0N3ktTbTrKrkRt9unG45+6fn/ACqq3hnR1Yq1tcgg4IN7Px/4/W/qS7dQnH+3n8+akUR3aGSRiskS5kwMmRfX60Ac/B4V0iUnFvcBV5ZjfT4Uf9906fw7oOPLhtLjaP42vZ9zH1+/x9K155jIBGqiOIH5UH8z6moqAMqx8M6LdLcRi2uPPjkOwC+n+ddo4+/17+9M/wCEa0b/AJ97j/wOn/8Ai60bJmWa4ZSQwnyCOx2rWhcKs8Juo12sCBMo6Anow9j/ADoAxh4X0OeImO1nWZB8yi9n+ceo+fqKr/8ACNaN/wA+9x/4HT//ABdbKMyOHRirA5BHap51WWI3MYC4IEiD+EnuPY0AULTwv4duIJH+xzCaKJsoL2fD8cMBv6is7/hGtG/597j/AMDp/wD4utuCV4ZVljbDKcipr6OPCXMAxDLnj+6w6rQBiz+F9EaFbiO2nAPyuBez8N/330P+NQjw3owIP2e4/G9n/wDi63bV1BaKRtscgwTjoexqOWNo5GjcYZTg0AZ0/hfRJUe4is7hFUqHUXs+FJAP9/of64ptr4Y0N1nVrW4LeUWU/bZ+COf7/pmtkTmKUSKnBADq3RxtXipAkcFxDcLuNrISOeoHRgfpmgDlr3w5o6Wc7LBchljYgi+n4OP9+nxeG9HMSE29zkqP+X6f/wCLrV1WMxWt3G3VY3H6GnQ/6pP90fyoAyv+Ea0b/n3uP/A6f/4urp8K6DNbfaYrS4DoP3kYvZ8H/aHz9PUVcUbmA6UyzupfNkljYqI5WSM/7Ixn9c5oA57WvD2kxaLqE0cNykiWsrIwvp8ghCQfv+tU/wC2NW/6Cl7/AN/2/wAa6vxRGknhrU7q3Xan2OYSJ/cYxt09jXDUAer+Bv8Ajw1T/sOaj/6VSVc8RwtLYhlUsyODgDJweP8ACqfgb/jw1T/sOaj/AOlUlbzrvRlyRuBGQcEUAfI/7Wfja58J+LfAtlHvie1vRqtwvTKK2xR+I8yvoiCOykt47g38bxyoHQQjflSMjnp0NfHX7Xfg7xNdfFqz1DU7yzSDV7lNN01GmZnRU2je/HALOTxk819N/DXTdZ0bwLpGj+IHhk1GxtxbSyQuXRwnCsCQDyoHUUQ1p69/6/QJ/Grdv6/U6qe8060iL+QCAf8AWXD/ANBVa6vL7U7R2iiCAA5jlBUSj1Cjp+P1xSGNGcOyKWU5UkZI+npU0HAkk/uocfU8f1NAGLbXEEV2jQM0duYJJJYi2djKVzkH7pGT9au6WMabbY4BjVvzGai1TTba/jPmKVl2kLIjFWHHQkcke3SpbG4aVDFNhbmIASqPXH3h7HtQBZpVyGBHBz1pKF+8PrQBBoU27SLUTIJR5eM9GH4/45q6IUk/1EmW/uPwfw7GsbQbq1bR7Xbcwn92D/rB0rToAGBVirAgjqDRUqTnG2RRKpIznr+B6inGBZPmtmL/AOwfvj8O/wCFAFnSkJtp8YzM6W/PTDH5v/Hc1UvJPNu5pP7zk/rWjo2Gjgi3KrG4Z8k4Jwn3R7nPT0DVktwxB65oAKuWzBbe6uO/liPGehJAz+QqnTo922RR/dyfwNAFO/M0SG6ic4iUs8WMh1HJ+h9KsqQyhh0IyKWqVv8A6HMto3+pcnyGJ6HqUP649uO1ADPELmPSpJA21lZSp9DkY/WrdvDHBHsjXAzkk8kn1J7mqPiPzPsMTKu9EuI2kQAZZQ2cDPvitFGWRFdGDKwBBHcGgB1FFFABUnhGES+Mbu5Un9xZrE2D3Zs4P4dPqar3M8VvC00zBUXrnv7V0PgizkttDW4uEKXF45uJFPVd33V/BcfrQBuUUUUAFFFFABWf/wAzMP8ArxP/AKMFaFZ4/wCRnX/ryP8A6MFAEyFG1eTGCyQKD/s5Zjj8cCrVUtDYyack7DDzO8jH1yxwfyxj2xV2gCtqsE1zptxBbsqyuhCFhlc9s+1Lpvl/YYjCrKpXOG+9nvn3znNWBVTSVZbV2LZ3zSuB/dBc8UAW6KKKACiiigAooooAr6f/AKl/+u8v/oxqsVX0/wD1L/8AXeX/ANGNVigAqpqLMZbOFVLCScFsdlUFs/mFq3VV9z6rENw2RwszD/aYgKfyD/nQBaooooArapk6fOoJBddgIOMFuP61ZVQqhV4AGB9KbNGs0LwyZKOpVsehqDTZHe1CzMGmiJjkIGMsvGfxGD+NAFmiiigCvqP/AB5v/vL/AOhCrJ61W1H/AI83/wB5f/QhVk9aAEooooAKKKKACimysyRlkjMjDooIBP51Ujm1KNibqzidD0+zOWZfqGAz9R+VAF2orubyIC4Qu5O2NB/Gx6D/AD0qv9pvJh5cNjLAxP8ArJ8bVHrgEkn2qWG0SOc3DSSyylQpZ244zghR8oPPUDNACWdvJGxmuJ2mmZQpOAFUegA96iuf+Q5Zf9cZv/ZavVRuf+Q5Zf8AXGb/ANloAvUyKKOIMI1A3MWPuTT6KACiimySLFG0j/dUZP0oA5LXLhrvWHbP7q3BiiHvn5z+Yx/wGqlPdRgOMjeSxzzls5Y5+p6e/Sm0AWdSO6dH/vRIfx2jNQQyPDIJIzhhUt1zDbP6x7fyY1BQBPcxoUFxCMRscFf7jen09KgqS3maFyQAykYZT0YU66iVCskTFoX+6T1HqD7igCjaf6y5/wCux/8AQVq5bTGGTdjcpGHU9GHpVO0/1lz/ANdj/wCgrVigCa6hEZV423RPyjf0PuKZDI0TblwQRhlPRh6GrVmojgZrpttvIOFxlmPqvp9arXMRhk27gykZVh0YetAD54lKefBkxZ5U9UPof8adZSoA1vMf3MvU/wBxuzUW8UsJWaRxAp/vDJYf7vf+VEtxGrOLWFY1bglvmb9en4fnQBDcRPBM0MgwynBqXKzwfvHVJIxjexwGX0z6j+X0qWEm9i8hyWuFGYmJ5b1U/wBKqxSFGKAkNtZiAOR0HJ9Ofzx6UAI7bsfvC/fPbJ7D2qW2mVQ0M2Wgf7wHVT/eHvUFFAE3iKBk095ydweBlLDoxC9fxGP1qtD/AKlP90fyqS4uWTS7qCQeZC0TZUnocHkehqVYkhhjmjkEiFR5fYg47j2oAYfkXb/EevsPSqOkLixDZyJJJJB9GdmA/WrTjcrKSeQRmquns0a/Y5FUNCi4ZfusvIB9unIoAh8Q3k1to1/FAgkeayuAys2FCCM5J9eo/E1yf511VxGLzRtavWysQsZwrYH+rEbYI/3m/TFcpzQB6x4G/wCPDVP+w5qP/pVJVnxnr1p4W8Jat4kvlZrbTbSS5kVerbRkKPcnA/Gq3gb/AI8NU/7Dmo/+lUlS+PPD0HizwXrPhm5kMUWp2clsZAM7Cw4b8Dg/hUzvyu25UbcyvsfM2o/DbxX8c/CXg34pXHia8E13qW6bTreJFj062M5jMkHdmUIhJbOeT2xXafDnxXeH4ieLPhrrF/Jqd74dlX7PqEqKkl1CQMmQLxuBYcgDIIrxHU/ip8SfgfceEvAt/wCH7a0l8LPO6yeezR6rbzM3XHG3nII5BUdCCK9W+CHh/XtQ8ZeJPix4o0yPSL/xKENvYI+8xQ4U7if9rauB14rVct3y/Dr+lv633Id7e98Wn63/AK9D16n5xb4x1fk/Qf8A16ZUnBtj6q/8x/8AWqBkdV7m1jndZN0kUqjAkjbDY9PpViigCjPHe24EtvcNOi5LxSoGZh6Kwxg/XNXIJFkVJY2DK2Cp9adVWOP7NfM+TFBKvAP3WkzyQegPI475oAo6TpunzaZbySWkTM0YycdcDH8hWwaoaO6R6LbPIyoojGSTgdali1C0kkKLLg9iylVb6EjB/CgC1QCQQQSCOhFQC4ikRvs8scrAA4Rg3H4Gpgu0D98JRgHd5ZQ/ip6UAbFnJ59pDbsI2uLi4Ox3wCmwA7h6sO3fn0BqrPDY+c5+2uTuPAiPrUmkMjQXUU6s0Kx+cAv3lZehX0NQarGY7wq+3zdimXb0345oAafsKnG25f3BVafE1idy4niBXG4kNj8AKqU5fuv9P6igCd7VS3+j3Ecy/XafyNVby0yhiuoGCnswI/EUtPjmmj+5K4Hpnj8qAMfU7P8AcDddXTxmaPMbScfeHGev61Z0natqY423QRuUhP8AsDoPoOQPYVY1O4DW6ebBE/76PJA2k/MO4q75dq8LyqZIQpCgHDAn9KAK1FTi2L/6maKQ+m7af1xUckMsfMkbqPUjigBug21vf+LDHeKrpZ2omhifkO7MQXx32gY/4HXcVwdrBdf27a3tnJAJ41aNVmB2sG6jI6Z45weQK6C4XxHKpuH1DTtJiQZKeT5/Hcs5KgfgPxoA3KKx/C2pXGowXXntHOsE3lx3UcZjS4XAO4KfTOOCQcZFbFABRRTJ5o4IzJM6og7n/PNAD6w9ZBk1V7dSwa4sfJUr1G6QAkfQZP4VdP8AaN0BJDKlnH/Crxb3YdieRt+nX+Qz5lu18XQTTQrcLHYsAIBhstIBnDHsPfuaAN9QFUKvQDAoqq93LkBNPu3JOM/IAPrlqR/t0xCqq2q/xOSHY+wHQfU/lQAX07lvslqT9ofG5l/5Yqf4z2+g71YhjSGFIoxhEGAM5pLaCO3j2Rg8nLMxyzH1J7mpKACiiigAooooAKKKKAMO70/UL1FksdXnsDFNNlUVSsh83PzZHTAI4x96p9Ds9XtJJG1TVlvlZFCgxhdrAnJ4A4ORx7fnd0//AFL/APXeX/0Y1Q63pNlrNl9jv42eHeHwrYOR7/QkfQ0AX8GqkO9tVucxlVSKNQ2PvfeJ/nWPN4O0mWFYjNqKgY5S7ZSQBjHHbmm6Z4a06z1uWaNr0PG0UyE3JIbAcYI7gEng+1AHSDkcc/Siufs/CGj2tultD9qEEZysXnEKDknOBj1rfjURxrGuSFUKMnJ4oAWqmWg1TG0+XdL1zwJFHT8V/wDQat1U1jctg8kePNjKvGD0LAjAP1PH40AW6KBnHPBooAr6j/x5v/vL/wChCrJ61W1H/jzf/eX/ANCFWT1oASiiigAooooAKKKKACiiigAqjc/8hyy/64zf+y1eqjc/8hyy/wCuM3/stAF6iiigArnvEN7M072Y+SNcZ9W/+tXQnp61y2vTw3F2skO/cF2uGXGCDQBTR/8ARnRvuKwkY91/h/Hlhx7VHU9sqtDMpl8t32IhHXJYdPy/WkS2kYFnAiTu0nH5dz+FADphnT7ZvRnX+R/rVerhWKSwaKGRnaJvMOVxkEYOPpxVOgAqe0kVSYZv9S/3v9k9mHuKgpUVpHCIpZicADqaAIkiaG5u426ibqOhG1cGr6RJbRCa4UNKf9XEfT+83t7Uthsjae3Zo3u1mPlsRlUO1flz3P6A1VkZ2kZpCxfPzFuuaACaWSaQySMWY96tafMf+PdigPPkuwB2N+PrVOigB0xkMrecWMmfm3dc02rR/wBLi3Dm4jHzf9NFHf6iqlACqSrBlJBByCO1W9RLNp8up20SyzhCkkOdpdj6HtnAP4VUqazuBbyHeN0TjbIvqP8AGgCrbSia3jmUYDqDj09qkqK6tU0/WFjjP7q4iZ1I+65BGCB64Jz9KloAiu0aSznVRkmJ/wD0E1O8iybSihECgKB6Umpf6PpNwuf3ssDFv9lcHj8ajh/1Sf7o/lQA+s3Uo3a+hUMVhmQrcHIACryPzyR9DWlUEVrDcat517GJLa2hDKpH35GYjHvwtAC+IWWPwheJGR++sZpTj+75bbR9Mc/jXEV2XiWRpdE1WRzlms5if+/bVxtAHonhRPEDRasbG50pLf8AtvUNqzwSM4/0mTOSGA65rY8vxZ/z+aF/4DS//F1F4G/48NU/7Dmo/wDpVJW/QB8M/th+EPiF4q+L1xcWPhy+1iHTtLgWSfTbGVolHzNgdct83IBz7V9C+E4PFKeENCaSXTIWfTLdtkttKHXMa5DDdwQcg/SvYsmsXxRBugjuB1Q7W+hoj7sXH+uv+YS96XN/XT/I4ny/Ev8Az9aP/wCA8n/xVPiXxLskX7Vo3zL/AM+8vUH/AHq06kt0eSXC44GWJ6AdyaAMXy/Ev/P1o/8A4Dyf/FUeX4l/5+tH/wDAeT/4qtyY2zNiJZEUHgk5yP6VEy7WxkH3oAyPL8S/8/Wj/wDgPJ/8VVmFfE81o1oLzRxglwvkS4fI5H3/AEFXa0NJ0+6uJ45UBiRWDCRh/L1oA4fRLHWf7NtpI/7CB2Agm0fd+e6tCSHxFIhWS40V1PUNbSEf+hV0Ol/2TBpduGhkml25YK2FHPSra3OjZ3GxlB7LuyP50AcpHpXiS+byYn0ctggMlvIpQH0bdxVu8t9dtwsMd9ok8i4DubaYjp7SDmtm71F5FMVvGttCeqJxn6mqVAEMUmurBNHDdaDD5sZRt9vOT09d5xTrm28TXuLhZdGjllLfdjdldh1AO/I9sgVJWhdR+RZRwkqjJ8zHPzOzAfKB2AGCT64oA5lovEysVa50gEHBBt5eP/HqcqeJfLf/AErRucD/AI95f/iq3BKk6Fbg4k42y/0b1+tMkhkijO9cBiMHsfcGgDE8vxL/AM/Wj/8AgPJ/8VR5fiX/AJ+tH/8AAeT/AOKrWooAwNSj8SeQm650g/vo8Ygk67h/tVoXkfiVGW3+16MRFwcW8vLHr/F+H4VPe8LAf+niL/0MVdvBi7mH/TRv50AYnl+Jf+frR/8AwHk/+KpyHxUgxHfaUoPYQyj/ANnrUAJIUAknoBVu2ttlzH9okiiAcFg7jOM+lAGVNN4phleJLjQSFIGTZuTkd87s1Zvf+Eu1wwaS8+jJaTw+dcSfZpcMFcfux8/cjn2rV1bTZ0uHnhTzIXO4Fe2aXRLgw6rbafNlJGSZ1RuCR8nQenBoAteX4s/5/NC/8Bpf/i6PL8Wf8/mhf+A0v/xdbQ6VUuZHmuBZwMy4w00itgop6Ae5/lQBizN4wml+z2t7ooIfbLMLSQrHxnu/J6DvjNPttP8AEtvGqLd6K+xmZWlhmdgT1wS+a34Io4YhHGCFHqSST3JJ6mn0AYvl+LP+fzQv/AaX/wCLqh5fir/hIx/peibvsZ5+zy4xvH+3XU1n/wDMzD/rxP8A6MFAFXy/Fn/P5oX/AIDS/wDxdHl+LP8An80L/wABpf8A4utqigDF8vxZ/wA/mhf+A0v/AMXR5fiz/n80L/wGl/8Ai62qKAMXy/Fn/P5oX/gNL/8AF0eX4s/5/NC/8Bpf/i62qKAMXy/Fn/P5oX/gNL/8XR5fiz/n80L/AMBpf/i62qKAMXy/Fn/P5oX/AIDS/wDxdHl+LP8An80L/wABpf8A4utqigDnbCPxX5L4vND/ANdL1tpf77f7dWPL8Wf8/mhf+A0v/wAXWlp/+pf/AK7y/wDoxqsUAYvl+LP+fzQv/AaX/wCLqreR+LLdjereaIdqhZFFtLyuev3+2SfeukqG+ha4sbi3UgNLE6AnoCQR/WgDL8vxZ/z+aF/4DS//ABdHl+LP+fzQv/AaX/4utSwYPY27jgGJT+gqagDF8vxZ/wA/mhf+A0v/AMXVbU4fFj2hhN7oYEzLGSLaXIBOMj5+tdHVS7bzLmC2jGWV1lc9lUH+ZIwPx9KAKHl+LP8An80L/wABpf8A4ujy/Fn/AD+aF/4DS/8AxdbVFAHPahH4r+yNm80PGV6W0v8AeH+3Vgx+LM/8fmhf+A0v/wAXWjqP/Hm/+8v/AKEKsnrQBieX4s/5/NC/8Bpf/i6PL8Wf8/mhf+A0v/xdbVFAGL5fiz/n80L/AMBpf/i6PL8Wf8/mhf8AgNL/APF1tUUAYvl+LP8An80L/wABpf8A4ujy/Fn/AD+aF/4DS/8AxdbVFAGL5fiz/n80L/wGl/8Ai6PL8Wf8/mhf+A0v/wAXW1RQBi+X4s/5/NC/8Bpf/i6pXEfir+2rPN5om7ypcf6NLj+H/brp6o3P/Icsv+uM3/stAFPy/Fn/AD+aF/4DS/8AxdHl+LP+fzQv/AaX/wCLraooAxfL8Wf8/mhf+A0v/wAXWbq+keKLn9+t5oayAfNi2l+Yf99V1lFAHnDQa5GAf7R0iVs8qLOXB/N6jmi8TEb/ALZpJGTtzbSjC54x83I7fXiup8Q2JilN1Eo8tz8wHZv/AK9ZscgEYEi71Rt2PQEYJ/VSf93NAGPD/wAJPDKsi3WjZB6G3lwfY/NT7u38SRyBlutH8uQb0P2eXp6fe7dK0CCuM1fsoTc2LxyZVI23o+M/7yj145/CgDn7e08UTEkXejKi/fdoJcKP++qsxf8ACRfZriG3udGVkXeJPs8odgDz/HwMdqvXM/mYjjXy4FPyJ/U+pp+mMFvY1b7r5RvoRigDmbWPxJvuMXWkf63n9xJ/dX/arQSLxPeKQLrRjOi5H+jy5kH/AH11/nU9urJNdIwwyzkEe+1a1vDozqsfsrfyoA5ny/Ev/P1o/wD4Dy//ABVHl+Jf+frR/wDwHk/+KrrfEFh5Mn2qFAIm++B/Cf8A69ZFAGUq+JlYMt5pAI6EQS8f+PVekk8UzW5ljm8PgpgSKLJ8/wC997/9VT0+CRoZRIvbqOxHcUAZLHxQx/4/NHH0t5B/7NQreK1Hy6hpY/7ZS/8Axdbz2hkfzLfAt2BYMxwEHoT6ij7H5SrPO6NATwUbJc+g/wAaAMp4PEU0EdvfahpG5nWWMmCUmM9iTv6H09KYtr4ot2eSabRgY2wFa3lwzf8AfXI71pO0l1dfKuXchVX9AKvXUtvOBYs4zCoWKYnjd3B9j60AcjqC+JmtLlpLvSGzG5Y+RJk8H/ap8UfiXyk/0rR/uj/l3k9P96tPVI3itLqORSrCJ8g/Q1LZxvMIo4xlmAx+VAGdbWviWVmLXmjJGgy7m3l49vvdTVYN4muLu4k+1aQoRhEifZ5NqqBkY+br8xya6O8kQKttC2Yk+8R0d+7f4VR8OIt1JcLLIB5U8jXGeCq7jt491Ax60AZmrw+Irfw3qFzPcaO3mWc4RPs8mdvltlh835VzXy+9dr4snNxo+qyYwv2KYIv91RG2BXFUAer+Bv8Ajw1T/sOaj/6VSVs3UzxhFij8ySQ7VBOAOM5PtWN4G/48NU/7Dmo/+lUlb9ADIVdIgskhkbu2MZpLqFbi2khbo6kVJRQBxr23kti5cIR/AvzN/wDW/GmPNlDHGvlxnqAeT9T3rR8S23lXazqPllHP+8KyqACngb1GMbgMY9aZRQBrWE+k28KtLE7z4+bcucH27VM+rTTNJNFmOCEcDuzHgZ/nj2rFEh6N8w4znrj29KmuGRVS3h3FAdxY/wAZPf6UAZeiEtpNszHJKZJ/GrlUtD/5BFr/ANc6u0AFFFFAE1jGslyvmf6tQXf/AHVGT/Ki9ZnuGZiCzfO2OmWGcD6DA/Cn6dH5sk0YYKWt5VDE8DKnmorsYuGxnBwwB7ZGcfrQBHU6TtDEsfEiMCWjbp/9Y8dfeoB1xTpD859BwPwoAlkhVkMtuSyD7yn7yf4j3qCmuu5GUO6bgRuRirD6EcionkeFsykNDgDdjlMevqPfr6560AStbtcyQRLx+/jJPoA4rY1mxgt7syvcbUky2wDLZ74/+vWXdzyWemwzQ7VkkuUwxGflDL0/E0+6uJrmUyTOWb9B9KAHNcbflt08lfUHLH6n/CoKKKAJBPN5Pkea/lZ+7niqttc6TqF55moXMipbM0DSSvLbFcfe2M23coxyVyMdetLd3C2tnNdNC8wiTdsTqeRnHB6Ak/hXP3dxY6nc2NvfaFK1xAZHkjVsouW2yAtt6Eq2G7gD+9wAddootZdTt4fC17ef2ajSi8fezwgqSu2MuD828H7vGAa6y2git4vLiXAzkknJY9ySeprnfBesQ326zs9Du9Pt4zK7NONvzGQ9sckkkn0966agAooooA5yD/hKrXU2uNQntbjTULEx20JMzAjCgD1yQT7A1gal8QtJ0/xVeRXVjqXmWqSQYit2lDhHBZ8qCBx0B5PavQqzGjjbxJho0INk2QVHPzgfyoAwJ/iV4Zhill26pKsSK7eTYvJ97oBtyCccnGcAGtLR/F2l6pqcOn28GopNNE0yebaMq7Fxnc3RTzwDzW3bWttbW629tbwwwou1Y44wqgegA4xUm1QQdoBHTjpQAtFNmjWWJ4mztdSpwcHn0qDTpmkt9kjZnhPly8YOR3x7jn8aALPfHeiqd5H5moWTKdrIzuWBwWUKRt9xlgefTPXFXKAKs07rqltbj7kkMrt9VKY/9CNWqqXG1tTtVUZkjV2Y/wB1CMfqwH/fJq3QAUU1ZEaV4lYF0ALD0z0/kadQBX0//Uv/ANd5f/RjVYqvp/8AqX/67y/+jGqxQAUyeZIIXmkOFQbjT6p3WJdQt7ZmwoUz7cffKkDH0BYH8qAJrFGisYI3zuWNVOfUCpqKKACqb861FszkQN5uM4AyNue397H41LfyvBZTTRgF0Qlc9M9s0+2gS3TauSx5Ziclj7n/ADgcUASUUUUAV9R/483/AN5f/QhVk9araj/x5v8A7y/+hCrJ60AJRRRQAUUUUAFFFBzg4OD60AQX8zQWxdNvmFlVA3QksAB+tT1m3UbW91ZzyzySRiTZJuA5dgFRsdh1HH97NaVABVG5/wCQ5Zf9cZv/AGWr1Ubn/kOWX/XGb/2WgC9RRRQAjhipCttbHBxnFJECI1BfzDjluOffinVDGVS5ljBwu1XxjAXOR/SgCSWNZYmjcAqwwRXK3r/ZHezt1aPbw7n7z/4D2rrKxfE1ruiW7RfmX5Xx6djQBk222TmVSwU/Mo43Z6HjvkDn0J9qa13K0ySrhPLP7tF+6o9KjhkMUgbaGwQcHODg5/pU+oFXk81VVA4VgFXAGQcr+HHP+0O+aAGXkarIJI/9VKNye3qPwNQAkEEdR0qxaYmRrVurcxn0f0/Hp+VVzwcHg0ALcYa+uplHyyyCT8Si5/XNWNLuBa30czfdBw30NQWR860u48fPBOXX12lVyPwPNNoA6jXpPLskmXDDzACOzKQciuduolXbLFkwyfdJ7Hup9xSyXc8lqlsz5iQ5ApLSUo5QoZI34ZB39x70AQ0AEkAAknoBV6XS7hXONqxYyryMFBH496WRIrGJHSQTTyDKuv3EHTI9TQAqeTZo1vOvnyORuj3YVD7kd6n1mGEXQjlDwDaPKcfMhHpjt+FVNGg+0ajGrDcqne34f/Xrf1fT/t0abZNjpnGRwaAMezgW3jmcyo05jbyfLbdjA5NZdWLE+VqEW/gB9rfToailRo5XjYYZWKn8KAC7mjl0u4huiflhby5MZK8Hg+o/lVhv9CtVt1IM0kamRx0CkcKD/M1nX/8Ax4XH/XJ/5Gr1huuIY7NozI/l7o8EAqccDkjg+n40AVmZVGWYKPeodZvBBJbi3tJvLgbFxIyqNwOAWznOF9PrVuB2t0GAhuC255Bzt/2VPYcDOOtT3MUN9bvIkal9p8+HHDDuQPT1FAGD4juraPRdSheZFk+xTfLnnmNsVy1ddriqmgapsULmzmJwOv7s1yNAHq/gb/jw1T/sOaj/AOlUlb9YHgb/AI8NU/7Dmo/+lUlb9ABRRRQBR123NxpzhRlk+cfh1/SuUrua47Urf7LeyQ44Byv0PSgCvRRRQAU9fnUL/EvT3FMpYyRIpHBBFAFHQ/8AkEWv/XOrtVNHAXTIFHQLx+Zq3QAUUUUAW7MbbS5k65KRgf3suCw+m0GqsjNJI0jcliSa09LcLo98MgNxjPfI/wD11l0AOj+XL+nT602ny/LiP+71+vemUAFA60UUAVNdR7WNLeMvJbxzIApPzJ8wzt9s9B71aMltuC/aolLZ2h1ZM/8AfQFN1ZTPp8cirl45YlfHcbhg/wBPyp9AB2B4IIyCDkEetJPmODzGZYwfus/Qn2HU/hTEWSM4hmMaf3ditt5ydpI4z/8AqweaURqJDIcvIerudzfmaAKVxBNIySLfXDzxkmNIYmiizjH7zd94fTNbXw9mihlu7G4ZE1J9szjp5i85K/3lBz9AQDVWq97A8ypJbymC7hO+3nUcxt/UHoR0IoA9BorL8N6xDq9gr5RLuP5LqDPzROOox6HqD3BFalABRRRQAVn/APMzD/rxP/owVoVn/wDMzD/rxP8A6MFAFnUm26dcnJB8l8H0ODipLdWS3iR/vqihue4HNV9WbFi8SgtJMREijuT/AEAyT7A1cPWgBKp337i4hvFXuIZMDkqzAD8mI/M1crP1PfczxWdvsLq4klLDIjA+6T6nOCB7ZoAlTEuryN82LeIJjtufk/oB+dW6jt4I7ePZGDycsx5LHuSe5qSgCnYqRe37NgsZVwe+3y1wPpnd+tXKpQ/8h24CuTm2jLLj7pDPg59+fyqxcXNvbKWuJ44gOu5gKAK2n/vL6+ulPyM6wge8eQx/MkfhV6q2mK4s1eSMxvIzSMpHKliTg+/NWaAK+n/6l/8ArvL/AOjGqxVfT/8AUv8A9d5f/RjVYoAKpXcgh1Oydhnzd8A45BI3Z/8AHP5VcZgqlj0Ayaq2ERdUvLhi88igjIwIwR91R/M9T+lAFuiisvxLcXENikNqxjluZBF5o6RKerE9vr70AWLn/Sb2O1VgUi/ezjGcn+FT+PP4D1q5Udrbw2sKwwoFUfmT6k9z7mpKACqcFwJtRkVJAY402gD+Js/Mfw4H1z71Hq90yGO0h3ebN/cxux6D0JweewBPao7Gz1GDzH3WCs2FRVjYiNB0XOee5zxkmgC5qP8Ax5v/ALy/+hCrJ61W1D/jzb6p/wChCpLueO2haaTO0EAAdWJOAB6kk4oAkoqiV1aRgwltLdD/AAGNnYfU5A/Snebd2x/0lftER/5aQxncv1Tkn6j8qAKfiM+JA1sfD62LAB/PW5OMn5doH/j2fwqnbTeMiDbXFtpqzG3DLcJuMYk3KCpGc9N3T9K3Le9tbhykU6GQdUJww+qnkVYoA5zSJvGwntY9VstGMPAuJoZmDe5Ven+fxro6KKAKmsLI2l3AhUvJtyqgZJIIP9Knt54biISwyLIh7jsfQ+hqSql1Ekd5b3Ea7JHk2OV/jUqevr0HNAFuqNz/AMhyy/64zf8AstXqo3P/ACHLL/rjN/7LQBeooooAKbMFaF1fO0qQeM8U6o7gO0REYy2RjnFADbNnMKLLuEmDwwAbGcAnHtinzxrNC8TfddSppsKyGQyyIiHG0AHJxk9fwx+tS0AclJ5FncMgiM0qEgmUYXP+73qK5kaf96VUeu3seM8du2P/AK1WNbjZtXmVFLEkHAGe1QtbzRQFpyIkHO0kbj05A6nGOnue9AFYEggjgjpVi+xIVukGFl+8PR+4/r+NJbGx8sNPJMXOcRKm0kDvk9un0zzVj7fFFGY7WzjVScnzTvOfXnigCloazfbZpIoHlAnIYAcEbVyKuT6d5MrCS6gjQMQMtliPoKg+03M1vJL57BfPKOqnaAdq44HqP5VXoAvIumJIqs88+WAJwEUD19amvb6a3lltbeKK2CkrlBhseuay61oFWbUbCd0DLKuGB5BZQR/hQBlyO8jbpHZ29WOasH95pqkdYZCD/ut/9cVLrNmltcFoXVomYjCnOw/3TUWn/NI9v2mQqPr1H6igC54XP+nv7xn+YrpR1rn/AAwI0FxcSMq4wuScYHU0t5rzEvHbwjbyA7Hn64oAx5ji4kZTkByQfxqbVMfbpHX7smHH0IzVart5D5umw3CyBJXQwx5xjeAxyc9AAM/40AZd+jyWU8cYYs0bAYGcDByfy/pV7TZE0+3ghgleVhsMs7tuZsds9T7nvVbUXSPS54Yef3DB5T96T5fXqB7UkX+pT/dH8qALN/H5V7NH2DnH07VHDI8MqyxnDKcg1Y1H5mgm/wCekKk/UcH+VVaAG+KYlm8MavfWygIljO00fdP3bZI9RXC4rq/FF09p4W1dkwfMsZoSD0O9Coz9CQa5Tj3oA9W8Df8AHhqn/Yc1H/0qkrfrA8Df8eGqf9hzUf8A0qkrfoAKKKKACsjxHZtNHHPGoLKdrcgcetXUaRtWmTefLSBCE7ZZm5/8dqW7hFxayQn+NSPx7UAcli2iHzZnfuFOFH49TQVtZBuWVoT3VwWH4EVAylWKtwQcGigCby4M83PHtGaesdlkbrmY89oh/jVagdRQBBpixDRbFomdsxYO5cdDU9P8J2DXvhqNo2/eRgbFPQ+tEsMsLbZY3Q/7QxQAyioDZrJKWieaOQnJMbkfmDx+lSxxy28O+4kSdM48xTjZ6bx/UcfSgC9ZwtLbnDFDuYrk4DkRtx78En8KrBhH9w5f+96fT/Gr43W9sd68iUFXLAKcZVgo645IzgVmDpQBcvwJoo71QB5h2ygDo47/AIjmqlbPhlGkaZXVWhwDhhkbv/1VL4ka1SBYlSPz8jG0DKigDBooooAraizJAjIxVvOj5BwfvCr9xh1WZVC5+VgBgBh/iP61nap/x7J/12j/APQhWjbfOWgOPn+77MOn+H40AQ0UUUAFFFFAEVqgHijR2hKxXDzsGkC8tGI2LIfUHj6de1d9Xn0l1Hp2q6bqc4/cQT7JTjOxZBs3ewBIz7Zro9Q8U2VveNa2tvcahJHjzWtyuxMjIBYkAnHYZoA3qKytN8Q6VfIMXAgm3bGgn+SRW44I/Ecjjmue+JPjafw9c2Oi6HZQ6nr1+xEdu8m1YUA5kfHQflUTmoR5pHRhcNUxVVUqSu38ttW23oklq29jr7m8tLYgXN1BCSMgSSBcj8awbbxFod14nK2uqW1y62ZUpC+9t3mDgAd/avM18D3WtyPqfjHW9RutTlYkra3bJDCnaNR6flVf4ceGLCX4wzf2LbzadZaDH/pLNcM73UzYK8MThec+/PrXO69Tmj7ujffX+vmexDK8E6VV+3vKEb6R92+1rtpu7aSaj57ant9pFMxFzd/64j5Yx0iHoPU46n+lWqKK6z58KqaWWaKaRlA33EhU/wB5dxAP5Cpru4hs7WW6uH2RRKWdvQCvLtJ+M/h2KyT7bpusxQhmAuxaFopBuPz5HTPP0rOpVhTtzux2YXL8VjE3h6blbeyvvt+R6sSACScAdSa5SX4ieDv7VGkWuv2FzqLuI0iSTKlyQAC/3e/rXH6944j8d6jaeGPB+ozQadMC+sakilWig/55oezNyPWs74keFfA/h/wrpbaBpcEN5Dq1oq3YDGYAyjczOfvfj61zVMTKzlSs0t3/AJHtYPJaKnGjjnKNSfwxSV12c76pN7JK7Wva/r1pp7KZZL2f7VLNw/ybUwOgC89Md89T61ZhtreFi0NvFGx6lUANTyffb6mm12nzIUUUUAV9P/1L/wDXeX/0Y1WKr6f/AKl/+u8v/oxqdeTNDEPLUPK7BI1PQsfX2HJP0oAr6kxuJU01VJ8wB5j2EQYZH1bp+dXqgtbcxySTSuJJpMbmAwAB0UDJwOv4k1PQAVFd20F3CYbiNZEOeCM44xke/NS1WsrgzT3kR6wTbPwKqR/OgBulSH7MbeRmM1ufLk3EZ9QePUEGrTMqqWZgqgZJJwAKrXNs3m/arXalzjBz92Uf3W/oe36VVlmkvLoaXND5JK+ZN82Q8YPRTxnJ6+gz6igBLFjNetdpbHfLIR5zxEbYQMKFPfJ5/GtKZmVRtzuYgDAzj3qrbyFpJZmcIHcw26E4U7e4+pz+AFJZfaQJUmuVaRVGPlyq8dzxnoe/T60AS6gWFtLuA2ApjB5+8M02xQzxx3k+5pJFDKpPyoOSMDscHr1qnfM99YlI5N1p8oeYcGb5hwv+z6n8B61rhQoCqAAOAB2FABUd28sdpNJDH5kqxsyJ/eYDgVJRQB5pPr+nSSfar6/cyQzmFGdchXyCdgBJXlh6HA9q6vwfrVvfxzWYvPtFxDI/UHIXg4J9Ru/lXPa3b+RrN7bQaRbvGLjzgXwAQyKcj33Bx+Q7Vr+B7GMT3V+YY4pi2x/KXCMxC5Oc5JwFB7UAdVRRRQAVX1BHa1LRIXkjIkRRwSVOcD6jI/GrFFADIJY5oUmibcjqGU+xqpc/8hyy/wCuM3/stFpJ9muBYShVLF3gYHh1yTj6jPT0FFz/AMhyy/64zf8AstAF6iiigAooooAKKKKAOa1+aaPU5FSV1UquQrEDpWX3rT8SjGp59Y1rMoAftAhLlhkkADHbnP06D/IFMoVWLHB+XHIOeCPT9f096KAH6FG09xeWw6SO2M9iEUg/59aYeDg9aXRWZZ7+RSQV3kH0O1RU18v70TKAEmG8Y7HuPzzQBBWjpMo2KG/5YTLKPXBOG/pWdVrSiPtgjb7soMZ9ien64oASbTp7O41FniKwmTcsmABIWcsMe4DEGqykqQykgjoR2q7qWoT3YSOVQnl8EDufWqVAFi7XzI1ulAw5xIB2f/6/X86r1PZupLW8jBY5eMn+Fux/z60z7PP5jRiFyynBAUnBoAjqyQJdKAYBjBPuXP8ADuUjP9PxpPsV1jLQMg9Xwv8AOpYYGW3uUZ4smMMFDgnKnPb2zQBl3/8Ax4XH/XJ/5GpbdWaONVBJIAAHemXiNJZzoilmMT4A/wB01cheO1hQRMHn2jMg6Jx/D7+/5UAWLmErpaBmVpIZSrAHO0MM4/MGqFWrP57a7iJOSgkH1U/4E1VoAyPGgjbwjqyyIHDWcoCk4y204/XBrm93v+ldZ4sgVfCt1PI33opRGuM5xG2Sfb+tcjQB6v4G/wCPDVP+w5qP/pVJW/WB4G/48NU/7Dmo/wDpVJW/QAUEgAliABySe1FZOrX8DXaaWJJCzAtN5akkKP4cjoW/lmgC3po8xGvm5a5AYeyfwj8iT9Sat1U0+6kuGdTYXFrGgAUzALu9gB2FW6AOY8R2/k3/AJijCyjd+Pes2uq163E2nO23Lx/OvH5/pXK0AFKoPBwcZ64oUgMCwyAeR61oXuqNcQC2igSGHI+UUAUPBN41tp9vHnCyxbc+jc4NDtJvbezb8/Nk85qhof8AyCLX/rnWnc/MI5u7j5v94df6H8aAIizMMMzEe5qzpOf7RhAx8zbcHocjofaqtOido5UkXqrBhQAs3SJQGCLEoUMMEcZOR65zn3plXdQa3aITSTLEnOyU/cJLEhG/utz9CPSodPjWW7jVvuA7m+g5P8qAOh0BFisdnAbO5+e5Gf5YrF1u5jub4tEq7VG0MB973qrLM8k0ku4guTnB7elR0AFFFFAFTVP+PZP+u0f/AKEKuKxVgw6g5FU9U/49k/67R/8AoQq3QBJcgCdtowp+ZR7HkVHUsvzQRPznBQn6dP0P6VFQAUUUUAIQGBVgCDwQe9R28EFvH5dvDHCmc7UUKM/QVJU0VrcTf6qCR/otAGfdWSzF3jlkikZccHKk4x8y9DXIfC21jlm1PVNSlln8RLcPa3pl/wCWIVjtVP8AZIwc969DfT79VLfY5TgZxiuF+FsUl3pt34oumX7VrU5leNOFiVMoq/XA5Nc1VXrQ+f8Aw/r/AJs9rAy5MuxL2vyK/Vttvl/wtJt+cYnYjk4ritVtfEvhX4g3+t+F2S/F7bq19YsACxTC5QnrggccZ5rtQcEEdRVe9BbxSJlU7ZbMuPxcZH51rUpqaWtmjhwWNlhJStFSjJWaezV07d1qk00010Z0HgXxZp3izRob+03QysP3lvIMMjDhh74II9u9dDXjOoeD7iO8ub7w54gvtGuZ3d2jU74A7fedUyNrH1Bq1NpvjrW1h07WfGiwWYzGx022MM0oYY+ZiT/I1kqlRK0oXfla35nbUwWCqTdSjiFGD6SUuZeWkWnbvfXyI/iHr9z4y8QjwX4fvDDp0SGTVbyMZO3sinpk84/OugsLS3sNPgsLWMR20EYjjTsFA4qn4b0jT9E0uOx0+18hU4lyBvaQcMWP8RyDzWnV0qbTc57v8PIxx2MpzhHD4dWpx77yfWT8+iV3yrTu2yOKKLPlxom45O1QMn8KpeItJttc0S60m7yIrhNu4dUPUMPcEA1oUVpKKknF7HDTrVKVRVYO0k00/NbEHwi8YRahoo0DXLxIfEOkj7PdRzkI0qrwsi5+8CMZPr9aXxd47vBra+HfBkenalqKxedd3E8xNvarnADbOSx9B0qpqWg6Jqc4uNS0ewvJlG0ST26uwHpkiptM03TtMiaHTbC1s42OSsESoCffFYKnV5VDm079f68z154zL/ayxCpNyeqi7cib32d2l0jZdE20tYk8deNbdR9t8Bw3GwfO9nqancO5VWGc+xrq/BXizR/Fuli90yVkkDMk1rNhZ4HU4KuueP5Vl28arGbiUZVThV/vt/gO9c14m8N2mpC4vrFE03Wj+8hv7VBHKrjoCw5K9iPSm41YaxfN5O34WX5mca+BxXuVKapO696PM1580ZSennG1uzPTrAgW8hJAAmlJJ7fO1R25+2Xcd4q4hjR1iJHLliMsPQfLgeuT268Z8MfFM/i7w59kv4Ra6rFcyw6lEONpB3EgdRu3AD8a76SRIo2kkYIijLE9AK1hNTipR2Z5+Kw1TC1pUaqtKLs/67dn1HUVV0zzGthcTeYJJv3hR+qA9Fx2wMfjmrVWc5HceY0bRwzJFMRlSy7se+3IyKylmvrPUbqWTT2lilClnt+csBjdg+2BwT933q7qDNC8d20UcscRG4bMvGD1YH+Y9KZZn7JJHamd5oJFLQSyOWbPUqWP3uuR7A+lAD9L1K11GESQNIjc5imjaORcHByrAH8elVvFO1dJaYrIXjYFTGdrjnnae2Rx+NXb+EywiSMAzw5eE/7WOn0PQ1XSdL29tdrDyhD9oUDqzZ28/TJ49celAHn8EwhEavJr8sG3yoIBDtVVAzj5TzwfvYB5rtPDy/btLX7RJcPHHIY/LdAgfbwCw5J98nnuO1buT60lAFfUOLJgBgApj/voU66uoLdSzyL3wARnjr9Pqao+LPtK6DcS2cby3MZR4o1fb5jBh8pODwfpWZq3gTQNU8v7Yl0XS4FwzRzFDK3m+bh8feUt1HegDUXVv34V7crGQCDu+fnplccfn6etaMUiSxLLGwdGGVYd65fUPh/4dvtS/tC4W+87bCuFumVcRABRj/gK59cCrdno8Ph6W6utNadobmRXmhklZkQhFUbB0UYUZx3JPc0AHjCAqLe/VRsjzHMwHIU4wT7Aj8NxNWvCsDQ6Ort1ndpumMAnj9AD+NXiIr6yZMsI5kKtg4IzwR7GiwdpLKFnwX2ANgY5HB/WgCeiiigAooooAgv4WntysbbZUIeNvRh0z7HofYmsx9Qt38Q2MMmYJykyeU45z8vQ9CD2Pf68VtVn3qJLrFnHIquhhlyrDIPKUAaFFVUsY11Fr4T3RZlC+UZiYgB6J0B96dp2fsgJdnzJIQWOTje2P0xQBYoopJHSONpJGVEUEszHAA9SaAFoqo+p6bGyq+oWilk3rmZRleOevTkfmKmiurWYL5NzBJu+7skBz9MUAYPikf6bE3rH/U1k1s+K/wDX25/2D/OsagBrzGExrgESuI+fcE/0p1J83mpsXc2TnjgLtOTS0AGl/wCq1M/7QH/oFWrZGubVoVKh4j5iljgbf4ufyNVNPOLbUPe4Uf8AjoP9KltpfJnWTqM4YeoPUflQA/7PGPvXkA9huP8ASlVbRCGM8zEHPyxgfzNRXEfkzvF12sQD6jtTKANC/azW4Mn2eV/NAkBMmAc/h65qt9ojH3LSAD/ayx/U05z5mmxt3hcp/wABPI/XNVqAJ/tk4+4Uj/3I1H9Kuagt41st757+U6oAAx6454+orMropbqystDtY7+YRR3AESsRxuYEigDnTyeefrVnTMfbY0bpJmM/8CGP61WIIODwR1pUYo6upwVIINAC6pKsWnXUFvkDynDyH7z8H8h7VFD/AKlP90fyqTxCu37dgYBR2GPdc/1qOH/VJ/uj+VAF3SGC6hErcq+UP0IxVZ1KOyN1UkGkVirBhwQcitC4hWbXFQD5ZnV/wIyf60AZvjqKP/hGZ7SRc7NNlZh/tFWYfqK4Su58Y3Dz6XrDb22fZZwozwBsauGoA9X8Df8AHhqn/Yc1H/0qkrfrmvBVuJLPVW864XOuajwshA/4+pO1bhteDi4uiccDzjQA25kknn+yW8hTbgzyL1QdlH+0f0H1FWLeGO3iEUKBEHYfzPqaoaVZgWSlri7EhZjLmXnfk7unHXI+gFWvsg/5+Lr/AL/GgCxRVf7IP+fi6/7/ABo+yD/n4uv+/wAaALBAYFSMgjBFcZfwfZryWHsrcfTtXV/ZB/z8XX/f41h+KNNAEd0s9z/cb96fw/rQBlUDqKg+zD/nvc/9/DQLYZH7+5/7+GgCHQ/+QRa/9c604R5kMkfG5fnX8Oo/Ln8KyNFsn/sO1mMl0EK4B8w4zVyKHy5FkE9zlTn/AFpoAlp8Ue4b3O2MHlsfoPU0Pp0cbmSS5ufIzlMSnLjsB/U1BLF5hH764VR91RKcAUAT3bGe2gjWESW8V3HLNbqRuljUNnGfvHdtOO4B+lSx3ENvaXFwyXMPmMIIzND5Yyx+vH44qh9mH/Pe5/7+GrF7Zp/Z9vbvNcMHDSMpkOCCcD9B+tADRyOKWs3+zDbgGxuJ0GctCZTsb1+h9/zozcAjda6iB/EROhx/49k0AaVFU7ZYriMvHcXeASpDOVIPoQal+zD/AJ73P/fw0AR6p/x7J/12j/8AQhVuo59Dubi2R/Mnjj86P55JCB94c1s6VoNvJILl57uSEf6rdIR5h/vY9PT16+lAFK3V5rWWJFLMpDgAZPof5ipItLv5Oluy+7/LXSJZRoNqTXCj0EpFL9kH/Pxdf9/jQBjQaDO3+umRB6L8xq9Dodmn3/Ml+rYH6Vb+yD/n4uv+/wAaPsg/5+Lr/v8AGgB0Npawj93bxr77eamqv9kH/Pxdf9/jVWW1v1l3Rzb4hn5TO6ufx6UAaWM8dc1458K8r4OjgbAeC7uomX+6RO/B/MV0PxL8Q32laXBpWl/bbfxBq0nkWKvOHEa/xzHBIwo9e5FUfD+g2ui6XHYWs90VUlndpSWkdjlnPuTzXPfmr6dE7/O3+R7HL7HK2p71JRcV5QUk36XlZd2n2Neqcc00XiEeXK6D7GfunH8YqX7MP+e9z/38NUDbj/hIVHn3H/Hmf+Wh/viug8c3xI1xE8cvzyKC6NjnjqCe/H8qgRSTuB2gfxelRW0AS4RvtFzwef3p6d6VYkWdGEtyY0cEL5p5GaAL2ookN3LtjGN/Q8DJVScDtyTVZtrLuUYx94f1qS+s1eHet1dOVJfeZT86O7EH6gggj2HY1SSAK2fPuSO48w8igCaioXtQrEfaLg+h8w9KT7MP+e9z/wB/DQBPUsESlfNmJWIHt1Y+g/zxUMViioJp57kIfuqJTl/8B70yWIyMC1xcAAYVRIcKPQUATzytK4YgKAMKo6KPQUyoPsw/573P/fw0yeJYYZJmnuSqKWIEh6AZoGk27IwvCsctv8YfK08Li/tGuL4Z27PKmZUbjqWDMuPx7V6kG+3zoy4NpE24N/z1cdMf7I9e5+nPnHwj0eOXwq3i2aaZtX8RyMFcO37qIuQsY9gAWP8A9avSo7SFIgsdzcCOMBQBNwoHb2rnw2sObvr9/wDVz1s6ajiFRvd04qDfdx0fyXwrukmW6KpxRwSl1ivp5ChwwW4ztPoak+yD/n4uv+/xroPIKuqeZDdJdKyQgLt87nAOeBIO6H16g/WoMx4a3kRo4WcCSI/etpCflZT/AHSeh7H8QJ7+3KKrLePt5Dxyz4Dg+/Y/pWHLEJE8tr0wRgbU33DSOsZ6owXgjjIO7j6igDoWuLu0BN3Gk0QwPNi4PXAyp/mD+AqHSbYPINTZwTMpaKNGysavgnnuTgH064rn7nUoZIYbOa8lu4nliSSdWYKQGydwIwc4IwD1NdLbC1uAPJvp29hOc/lQBeoqv9kH/Pxdf9/jR9kH/Pxdf9/jQAaj/wAeb/7y/wDoQqyetZ2oWo+yN/pF195f+Wx/vCrBtBn/AI+Lr/v8aALFFV/sg/5+Lr/v8aPsg/5+Lr/v8aAK0sMljIZ7Vd0J+/H6D2/zx9OluzeGSANb/cJJx6EnJz+dN+yD/n4uv+/xqlJpDRyNLZ3lzEzDBUynHX/PY/hQBq0VgXV79hDrdtdvImMrDI7MR2wAD/MU+HVNLlKquoXPmMMrF9oy5H+7nPr+VAG5RVKBbebHl3tyT/dMxDD8DzUv2Qf8/F1/3+NAFiqNz/yHLL/rjN/7LU32Qf8APxdf9/jVG4tR/bdkPtF1/qZf+Wp/2aANaq+m/wDHki/3Cyf98sR/Sj7Iv/Pxdf8Af41W0y1/0Yo090HSR1b98eTuPP45B/GgDRrN8TS3EeiXH2bTH1N3Ux/Zkk2FwRg/N2q19kH/AD8XX/f40fZB/wA/F1/3+NAHntrpd3Z3jTN4FS6lkjxK32pyMmOMsCzs24Erjp/Dz1p+n2LRahFqFv8ADu4tbtHEm5r37nzcgAHBPzNgdOvtnv8A7IP+fi6/7/Gj7IP+fi6/7/GgDL8Vr8ts3+8P5VhVs+KbQfZoW+0XPDnrKfSuf+zD/n4uf+/poAsoxUHAHKtnJ7cD/wBmH5U2o/sqojB5LsOVGwmQgbScn/0FaZ9mH/Pe5/7+GgCxacWF1/tXv8ox/jSVDFbAWjL59x81w7f60/3UFJ9mH/Pe5/7+GgC9c/vIIZv4seW/1HT9P5VBS2lsHjlt/PuTvXcv70/eXn+War/Zh/z8XP8A38NAGhYYkWe3P/LSMlf95eR/Wq1R28Xkzxyie5+Vgf8AWmnXliIbqSPz7nAb5f3h5Hb9KAHVt65b295oNmJLjyo0ZH4XcXAUgqPQ89e2K537MP8Anvc/9/DVhLfdpsim4uSEkUr+9PGQc/0oAJG3yM+MbmJx9aSoPsw/573P/fw0fZh/z3uf+/hoAs68M6b53Z7Qj8VBH9Kih/1Sf7o/lTdStw3h+Q+fc5iEi/609Cuf6GoorYeUn7+4+6P+Wh9KALVai31wmnQzQsu6ImJ8oDj0OevTisT7MP8Anvc/9/DVzS7ZJJXtXuLjbOu0fvTww5X9aAMzX/8AkAan/wBeU3/otq5Cup1+226FqeZrjIs5sgyH/nm1ctQB6v4G/wCPDVP+w5qP/pVJWtqFwIra4VHAmWBpFB9h1/OsnwN/x4ap/wBhzUf/AEqkrR1GOG4urOFkV5UlEo/2FHUn2PA+v0oAtwRiGFI85IHJ7se5PuTzT6KKACiiigArP1WJ7i4t7fJ8uRJd49wBtP51oVXuSBeWnI3FnGO+NuSf0H50AceEcv5YUls4xjmpgY4SoULJJ/ETyq+w9frV7X1NtdMsShEmG5mHVvUfSsodRQBF4aZptKghdi2+HC55wRkj/D8aupGsMQmmX5jjy4z39z7fzrL0FiulWjKcEICD+NXZHaRy7sWYnJJ70AK7tI2WJJ6D2HpTajniWaPy2Z1Gc5Vip/MVXtLJ7cxAXlxIkaBAjtkEAYoAuAFiFHUnAq1q7br91GNsYEYx7DFN08D7Usrfci/eN+HT9cVGkc1zMfLjZ3Y5IUZoAjoUFmCqCSegArYs9ClfDXUgjH91eT/9atq0s7e1XEMYU92PJP40AcoNKktnGoXbtb2rMqzjbkkEYDeo5wPpWqzwRw7NAt7LUroAt884CqPdwDjPYVuMqspVlDKeCCMg1DaWlvZwtFZ28cSli2xeAWNAHMHUNYvriTStQtbQGOaBriS1fdHEGOfJJY5LcDkDGDyBxnrq53RPn8NW903Mt1dLPMcAZkMnzYx2GMD2AroqACiiigAoorgvir4jvoHtfCfh2cx61qQ3STKMmzts4eX2PZfes6lRU48zOvBYSeLrKlF26tvZJatvySOj13xZ4Z0IyLq+vafaSRqWaN5h5mP90c59sVwupfFDxBfT+T4N8EX1+hPy3N8DbxkeuDjj0yRS6F4R8P6XEBDp8Ekmd0l1coJZnbuxZuST7VvPKdnlplU7+p+tZOFaa1ly+n+b/wAj0IYnLcLL93SdV95uy/8AAYu/3yOR0lNeutfl8W+L7K2jvmAtYbWOctFZQcZZSCQSzdea61Wi3ZMPy9wHNRsqspVgCpGCD0IqtYho7n7C2dvWBmPBXHK59v5VrSpqnGyPPxuMnjKvtJJLRJJbJLZLfT5+b1L9xDsO6Ml4T918fofQ1ln/AJGJf+vM/wDoYrWaYRo0MJ3Rn75I++f6Cs6KNJvE0aKxQtaEc8j745rQ5C5FwS5GQv8APtT42tzhZInX/aR/6GmSlclUOUB4Pr702gC9OIls08qZpE2Oo3LtO7ehxj6ZqjVi1RJ1WJzjY+4H0DDaT+HB+maHWzjON08pB5GAo/rQBCfmiz3Xj8KlVVgQPIoaU/dRhwB6n/CnQTRRzq8UOMA/fbd2/CmG6YtuEUCtnJOzJ/XNAETuztuZix9SacsEzfdhkb6KalN7ddpiv+6AP5VBNcOqNJLM+0cksxNAEws7k9Yiv+8Qv86ms7B5buKOTyCrOAymRTkZ5GB7VRrC8U6trGnX+i2ehy21td6hdmEXFxF5iRgIWxt7k4xUVJqEeZnTg8LPFVlSg0m76vZJJtv5JepY+CqWf/CNapp+oCJYrDWLu3hgcjbGu/OAPbP5V2l3e6QhDRWsU0ij5cR4A/GuD8HaZd6fHqlxqF7HeXmoahLdTvHF5aBj8vyrk4+7mt6s8NGUaUYyWx151Wp18fVq0pXUne+u733s977o021u6ACwxQQoOiqvFU5L28fcGuZSG6jecVBRW55YE55Y/iarxgz7pJADCwKoh6MpH3iP5fn3p94jSWk0aEhmQgEeuKfG4kjWRRgMAQPT2oAJFWRCkihlPYjikgRogR5jt8xIJPIz2zSTzJCgZ9xyQoCjJJ9KgaS6mwsMLW6k8ySYJA9lz1PvQBr22qXsBOJjIDjiT5h+FbenatFcRsZwIWXGTn5eelcfb20kUm9r25mHPyybMfoorQt/mtLlR1+VseoBOf5igDqb5layZlYMCVwQcj7wq0etcJJdXFtbsYZCoyuV7H5h2rrNL1KO9Uq2EmHVfX3FAF6iiigAqtfXLQgRQp5ty/8Aq4//AGY+gH/1qs0e9AFNbVojGftW1yxZn2gGVz/T29hzxUE8cGq6RcqbXazhxhkG7cOjD3zjBq0toGH79i7eZ5gIJAU+3t/9erI46cUAZVrb2t5bneVUGHaVQbTsIGGPv7/WnOLgSk2MryLDEsexjweffq3HU+uMilu7KEyRwRyyxK7FmQHcmOSeD05z09amNnKwyNSvAWHJUpg/QFSB+H/16AFsLxbjdG2BMpOQARnHf2+nb361T1G8ij120jjzPOIJcRR8tn5cZ/uj3NQ3uj2rvIqbpGCiRtxJPy8quc9OuB+ByCantzE2o6e0MSRBoZtyooUA5XPAoAnjvposrqNt5DnlPKLSq/qMgdfal0u4SSe8h2yI6Tb9siFSVYAggHqOo+oNXqrXMU5uUuLfyiyoUIkyOCQc5H06fyoAs0VVWa4ju44ZxGyyg7WjBGCOcEHPGO9WqACioPtlr9t+w+cv2nbu8vvip6AMrxQM6eh9JR/I1iBVtow8ihpz0jYZCj1I9faui112j05pFALKy4yM4OetclNJtVpJGz3JPJJ/xoAksma8juSZkM6XJVkaQA7dilTz9TUyWN00iqImOSBleQPxFW7jR7CHQUWRYodQVfO8xsbzKRkg46g8jHTH0rO0y4QyQXCnCE889OxB+nNACSkC7ukVWWKOXYmRjICrz+PWkpYJru3ubuI3EoZJyD85x91an+3Xf/Pw5+uKAIrcsLiMp97eMfXNLebBeTLHjaHbAH1q1bXl0oeZpjtToMDlj0/x/Cov7Qvv+fqT86AK4Rj0Vj9BVu6jmkt7eby3LbSjfKf4en6EUw6hfEc3c2P96poLq5SM3UtxKQDiNSx+Zv8AAUAVBb3H/PCX/vg1Ygt5/sdyphlH3CPkPPNQPc3LnLXExP8AvmmmaY/8tZP++jQA4WtyelvN/wB8Gl+yXX/PtL/3yaYpkkYJvY7jjrS3TiSd2XO3OFz6DgUASXNrcf2JqKPA65hLLkY5Gf6E0yGzufKT91/COpHpVO//AOPC4/65P/I1JD/qk/3R/KgC59gusbvLGPXeP8aFs7lWDL5akHIPnKMfrTbQeYstv/fXKj/aHI/TIqvQAvjiPbo+oTYUCawmY7SCN3ltnGK4Ku+1YfaPBusW/WSCznlT3HltuH9a4GgD1XwS23TdWYKzEa1qR2r1P+lScCtXSY8WxuG2mW5PmswOeDyFz3AHFZngX/jx1T/sOaj/AOlUlaumgpHLDklIpWVCRj5euPwzgewFAFqiiigAooooAKqWqma7mun6KTFEPQA/MfqSPyUVbqrpzFvtTbcL9pfYc8EYGSPxz+RoAreI7fzrHzFHzRHd+HeuZHUV3DKrKVYZBGCK4y6ha3u3gbqrYHuO1AGbof8AyCLX/rnV2o/Den3k+kWnl274MY+Y8D9a37bQGPNzOB/soP6mgDEqza2F3c4MULbf7zcCuohsbSLbst4wQOG2jNWKAMqx0eKOApcN5hZgWC8DjtWlDFHCmyKNUX0UYp4IIyCCPaigAooooAKbNgQuTuxtOdvXp296dRQBzvh6MR+CtHQYxtgPHuwP510VczpUscdnqMLMI1g1ZmCHhY4y4Ix2xwx+ua3bbULG6iilt7y3lSYZjKyA7x7etAFmikDKSVDAkdQD0paACvJY5VvvjL4lvoYJFtbe2hsZ2dhuadeflHULtI+pFetV43pNwNF8c+ItH1xjBqOoahJe2s0gwlzAQNoVj1KAYx2rmr/HC+1/0Z7WVp/V8U4K8uS1vLmi27eSXy3OsZifYDoKSqaXNxN81vaqYj9ySSTAbn0AJ+lXLWOWRf3gRCOXIOVUfWuk8UdGjSNhccDJJ6AepouhDLB9n8tWiyCxYcsR0Pt7UskgI2Rgqg/8ePqaZQAlV0/d615hB3SWbIn03jcf6fnVuJGklWNerHArO1O7t4/E6LuOwWRWMBSTgOOcD8zQBfoqmNQhBJlWWBMZV5EwGHqO/wCeKG1CDAMKy3AxljEuQo9TnH6ZNAGlaBiZAiszlQqKv8TFgAM9h6ntTLgqbiQr90ucfTNLZvC0EkguIwsiFFwwLEkgEgdeOT+FMdtzs3TJJoARTtYN6HNOkUK3y/dPI+lNp64Zdn8Q+77+1ADKyNYvZoF8ueDEcjBA68gncMH+hB/DNa9VdWO3TZ3PCou9voDk/oKALR61y/xNt3PhhtVguUt7nR5V1GBn+6zR5+Q/7wJH5V1Gc8joa474uNa3Hw/1iL7ZbCSARO8RlXef3i4Xb15rnxbSoz9Gexw/GUszoKPWcU9L6NpP8HY6PRLgXenR3axmMTlpQhOdu4k4z+NXqj0u3ma03rb+SjSOVXhQo3HgVOY8TiFpYVcqW/1gOBnHbP8AkGt1seVUtzuysMopblrO2jDTXqZP3USNmZj6AY5p8X2fy1MnnbiASoAGD6ZpkEVAiEBaIZwrHGewPIA9sEVYSS3jfcLcv7SP/gKinnW4uZmVVUhhlVHA+VaAKN4JHv7FEYBA7ySD1AUgf+PMKuVWk/5CUPr5Un80qzQAVb05oYt09wrMhBjCjuSOfyH9KhtkXJll/wBWnJH949lpkkjSHnhckhR0XPpQBBqaGOGWMkHa4GR3+YVPHI8UokjYq6nIIqHUfmsi/oVU/wDfQx/n2qQ9aANu5125XTkms9Mmv7nftkhiHIG0nd9MgD8aW5tdW1fSX8yeTTpZWQeSGwECS5Y7gN2XUY+mPeswyPa4jhkKy9XZTgj/AGf896uQ67dRxqjRxyYGNzZyfrQBRl0Dxahnmi8SljktFGAeQM7RzwODj0J5NEvh/wAV3Nqs3/CSm0vJrSOK4VQWVXEWGK9MHeScgDt6Vqw+IDu/fW4x/sN/jWlbalZ3GAkyhv7rcGgBtis1pbeTNI0zxRR7nOTvOMFvxIqSOScTJHI8L7sn5FPT69PT60skcpuozGqhM5kZjyRggKB+tKqyrcKP3KwD7gXIbODkY6e9ACXnmsEjhUFmYbmPRVzz+naopm/0xbNA8KtAQrrwOvQD1AHX3q4jBt2M/K20/Wo5Iy88MolIRN2VHRsjj8qADzPLdI5FI3khSOQcDv71jQL9m8Uw2vyBTDK6AdT938+Bj/gJrXhh3Ms8ygy4wMgfJ9Kzdbtmn1exeI4ljimZSOv8PA9DQBs0VBZXK3UO8YDDhgOxqegCpfQzebFd2oDzRgqY2farocZGex4Bz7Y70v2i82rt087z1DTLtB+vUj8KtU2WWOFDJM6ogIyTQBixSWkOkQDUIUZpiz/u1ySckBs9d2MZPrmqMHiy1guJLCXzHlR8I0jjLKeRnHQgcc1HqWVW2jKlCIQzA9dzEkk+5JyaoyxRSoUljR1OMhhnOOlAE+qeKopklgkVUhUBpJVUsi9xlug9ayjNc38QNtC0Ee5Xjmkba2QQQQuOn41dWCFUdFhjVZCS6hRhs9cingAAADAHSgBSSTkkknqTTUtVEM8lvIyTLmTySuVlHVgO4b9D6U6hc7htznPGPWgBtmy3KXDqdzrJnIOd6bF5/D+VOUFmCqMknAHrUKxGz1RkRmjkK73QEbVIwAR79c/hWnCsZje6WSONsbdp42se4/D9aAK9yQu2FSCI85I7t3P9PwqKpSlup5mZ/wDcT/GmRy2bTSRbbjKYzyOc0AS2drLct8owg+83oP6026k8yTCrsRPlRfQf41X1eaR7B/LXC+fBlQeETzBn9SKtC43Ai4jExJB3E4bjtn0oAgpKtzXivH5aWdtGPUJlvzqCOWWP7kjL9KAHW6spaXawCKSDjv0H6moqstNL9jbzJHcysNoLE4A6mq1AEF//AMeFx/1yf+RqSH/VJ/uj+VR3/wDx4XH/AFyf+RqWHmKMDklR/KgB8btHIsinDKQQalvFVbhtnCPh1+h5qRLJgN11Ilsn+394/RetPmuLVY0jhiaXYrKHlx39v5UAULlJW0nU3jDbRYXO49seU1cFXoN9I3/COa9I7k7NKuFXJ6ZQiuAoA9X8Df8AHhqn/Yc1H/0qkrVsizXV6dhCecAp9cKoP6isbwfNHbaRrFxMcRx6zqTMfYXUlbenRtFaKJFCyOTI4HZmOSPwzj8KALFFFFABRUF3ciAKqqZJnOI4geWP9AO5qDydVZXY39sjk/u1W2JRR6Nlst9QV+lAEmoFpPKtUYgzthypwQgGWI/Qf8CqcCK3hVfkiiUYGeAPaqg02OZ0mv3+1zKpAJG1Fz1woPsOuegqSHTrGH7lrGfdhuP65oAbLdtLIIdPaCaQf6xy2UjHvjqT2FLFYnzlklupXkyNxVVTOPcDOPbP51ZjjjjXbHGiL6KoAp6/eH1oAz/Dv/ICs/8ArmP51fqh4d/5AVn/ANcx/Or9ABRRRQBRYzWHIxPbM5wvAkQseg7NyTxwfrVq3minj3xNuGcHjBB9COx9qW4hSeB4ZM7XGDjqPce9ZtrMwubeaRgskrNbXCj+KVQSp/JT+BHtQBq0UUUAFFFFAHKeJdF1GW4uVs7m2hsNRnt2u9wbzRtYK4THHzKAM8Ec9c1c8I20ENlqGmPbQg219MsgVBtYOfMU/wDfLr+Vauqf8e8f/XeP/wBDFZWuWtvZazp+qWwaK6uL1LeYqx2zKykfMM44CjB68CgDcghht4xFBDHEg6KihQPwFPqpMzTajHajesaJ5zsDjcc4VfXsSfwq3QBX1K+s9NsZb7ULqG1tYV3SSyuFVR7k142b4+MvGp8U3DTSaDp832fR1dNiEsuGnweSC3GT7elaHjlf+Eq+KjaFqGW0jQ7SOdrST7t1NJyHI/iVRxz3yK32hhaD7OYk8nbt2Y+Xb6Y9K5VetL+6n97X6J/ie7LlyyhaOtWpFa9IxlrZd5Sju9LRk1q27SVNPlI44c8bQ5Huf/rYqGpbvAupFHRTt/Lj+ldR4RFRRVaS/s0dI/PV3dxGqx/OSxOAMDPegC6AVtZGDsjv8iMuMgfxHn24/Gsa3t47fxD8hdmazO5ncsx+cdzWhPqNk0hj89YxF8gWT5D65wfXOayl1CGTXt8EdxMBaMvywsMneOmcfn0oA2GkReGdV+pxUL3kiT+VZKJLhQG3HGyPPQn16dBWdZWMc+o3M19EkkqlWVHAPl7gfz4wPbFTNatDqT/YnEDSQAlNg2Eqx6+mdxGaANucf6PG0LOIWzuUsTh+pz656/iar0aXdpNAHkRhFKMSJnJUg4/MGnzxtDJtJBGMqw6MPWgBlFFFADpOobH3gDVO5lCSGO6jU20g27+o56hvQH16dq0Uh3WwldhGobAY559gKjlW1aJ42jaYMMHfwMfQf40Act4h1a60vw99ks1M+szyiys4iclpXJCN7gDnPtW/pPwr8N6fpVnu021vNYixJPfXOZHllIyzZPv044rl/EEOv6d4r0TxNb6dDr0WmrNGtpEgikBdcK+SSGIPU8YHatVPihr2n7rjxD4NaPT4zie50+78/wAj1ypA3Y7kGuGcoe1bqrbbRtev9dj6rD0cSsDThgKiTndytOMZN3aULcybstUrauXXQ14oJrcSJOjK3nSde/znoe9UFu4IbueSYuZGfy1EcTOQi/7oJxknn14rM1T4nrfSSQ+D9Hi8RWVqstzfyvvjwC5KpEccuQc9K2PCsmneILK713w87zWssgEkci7ZopAg3IR7fzyfeuiGIp1JcsX/AF5dzx8Vk+MwlJVa0Gl17rtzLeN91e11sLZo80/26UbSyFIkKkFUznnPc8fTpVyg8HHQ0VseaFMMXlXcpKlTIkb4P0xn9KfS6tdRR+VNM6KUs0BywBb53AwO/QfTNAGc86Jqku5JpHSJQFjQttBySf5e/Fa8cAVRJcMYkIyFx87fQdvxqDT8WkLMu2S4lcyPKRwM9Ao9hgZPXGeKVmZmLMxZj1JPJoAdNJvwqrsjX7q56f8A16ZRSxo0jhEUsx6ADmgCK65tnT+8VH47hirVoB55kfhYwXPHcdB+eKjvo4YLdvtDGRwV/dxngfMOrf4VYvZYXQG3iMYc5kG7PzDsPagCqSScnqetFFQ3s32ezmm4JRCQD3PYfnigCaikXO0ZGDjkUo5OByaANvQrhpLaW2nJaM/KnzYJJB+UH8K1bMwspUTec33jnqB2HtxXMXO63SK3yVkQ+Y+OzHp+Q/nXR6K8UliJY4whdi0gHd+5oAkt5gsSx+S6OoOQEIUY9zxim2uxWBWaNtibZdrDGf6dTVuqs0dvDCIVjWKJ2O/aBg9zkd80ASQu7Ty5b93kKmRjkZzj1HT9ar3P/Icsv+uM3/stPu0YRW5iXY6SptTOBzwwP4E/jTLn/kOWX/XGb/2WgBt5G1rcfboRx/y1XPBHr/np19avQyJNGskZyp/zj604jIIPINZozptyF5+yyHj/AGD/AJ/T6cgGlVXUSqi3dyAFnU5PbrVocjI5Fct4t1FZL+00uFzkM00uO4UYx+bD/IoArX8/2i9lm7M3H07VBRRQAUUUUAFWf+PMD/n5P/kMf4/yp4j+xQrNIuZn/wBWOye59/QfjVMkkkkkk9SaAIrVUmS9tptuHlPlyMOYpNi4cHqOevqKnt3aOWS3uUMbj5JkP8J6gj1HQg1VtP8AWXP/AF2P/oK1au2Z1iuyM+WohmIHO3OUY+w5H4igBZIpI8FlIUnhscH6GqVhmRZLlsAytwB2UcD8f8atNcyWsMkiyMqqpYjqOB6VFYYk0y2kVNrGFWkUDuRkn9aAJJIfPsryPdtJt2KtjoRyD+BANNgfzIY5MY3qGx6ZFPlfydOu52OF8srn6jJ/QVHbKY7eKM9VRQfwFAElKo3MF6ZOKSkvRJbWLzk7GIwg/iJPGcfjQA+SeO42yQjEW0CP3X1/Hr+NEcbyPtjRnb0AzTw1ugCR2qhFGACxz+mB+lWLSeSWR4PlRHjYBFGBnHH8qAKWoQxR2Fz58oLeS/yR8n7p6noKlhumjhUW6rCCo5Xlun97rUE9vNcWNz5MbNiFyT2HynvV2O3tbWKP7VKZX2AiOHp07t/hQBWRZJZNqKzuewGSasizWLm8mWH/AGF+Z/y7fjSSX0m0x26rbRntH1P1PU1VPWgBdburaPw9q8MduViksJ1Z2bL/AOrbB9OtcBzXYa//AMi/qf8A15Tf+i2rkKAPS/Cm2a3vbNmUq+u6m0qHncouZeCPQkiurNc54ChjS11iVV+eTXNQLE+1zIB+FdHQAVQleTUN0NtI0VuCu64RiGJByVT8sE+5FOuv9MuTZrLiFF3T7Dhs5G1M9gRknvjHrVxVVVCqoVQMAAcAelADUhhjleVIkV3PzMByfxp9FFABRRRQAUq/eH1pKVfvD60AZ/h3/kBWf/XMfzq/VDw7/wAgKz/65j+dX6ACiiigArM1K3aK4S9WTEQlR5UK5xjjeMdODz7CtOigABBAIIIPII70VS+zyWeGsgzxZ+a3LcYP9wnpj06fSrME8c0PnKSF53buCpHUH0xQBJTJpooQPNkVM9Nxxmqhna+ISzkIt/8AlpcIfvD+6h7+57fWp7aztrc7oo/nxjezFmx6ZOTQBQ1O+8yOJba1uJ1MsZ80KFj++OMtjP4Aj3qr4k/tWSxjuF0+MrZ3Ed2yrcZdljOSANuMkZ71e1m+s47aMyXUK5uI1H7wZJ3Dge9Pu3uL62lt7eBoo5UaMzS5XaCMZC9T+lAC6VNHfFtThw0EyILd/wC+nJ3D2OePpnvVm8ubeztJbu7njgt4ULySyNtVFHUk9hWLZf2tocMFpcQ/2lYRQLGktnBtlj24ADJuwQRzlehHSsn4h6lfX/gjV7HTfDmpXVzd2skEMc8KoHJXk7S2TgZPA6gVM5OMW0b4WlGtXhTk7KTSv2uzkdMvF8VfEbU/F9jIw0mG3XTrRtpX7Vghmk5/hB6V1VcdokXxHXSdO0yz8KWtgUgWBJ9VvACzKnUonIzg1u6f4G8R6vDv1zxtc24ztltdKtlg2Huu9tzfjXJQqNR0i23q9La/M+gzTBwqV71K0IQilGK5ud8q0XwJ6vd3tq+hpNeWVjNFLf3VvbRBgS00gQYH1rk9R8faP9oNto7TaxcHqLKB5wD2+6MH8xXY6d8L/Aumv9suNKGoTLy1xqUzXB+p3HH6V0uhQ28YnntLZbaGRhHGiIEGxMgEKOmSW/Stf38uy/H/ACPP/wCEuj/PU+6C/wDb2/wPKbW3+IOtXEc1r4ans4grANqt0LeJgRzuhTLHHbJFW5fhr44nD3zeO0s71AGt7SzgZLVWHQH5s4PTpXrlFJ4bm+OTfzt+VjSnnTw7vhqMIf8AbvM36ufN+FjyGy8TPa3yaT4s06TQdTPyxmY5t7g+scnQ/Q81pzSRx+IFaWREH2M8swH8Yrv9Z0vTtZ06XTtVs4by1lGHilXI+o9D7jmvKL/wTq3hnW/tHg4LrdmtuznTr2QebGu4ArDKf5NRzVKXxe8u/X7uvy+4n2WDx38JqlU/lb9x+kn8PpLT+90Nyzlt42neS6ty0kpYHzB93sPwFPsv30st2VID4WLPUoO/tkk/hisjw/rWjapqM0O17XVVAEljeReVNCB2CnqM5ORnrXRVvCcZq8Xc83EYathp+zrRcX5/1t5lIstvquWbZHcRjHYeYD/Mgj/vmtOzmhnh8l5FaJv9XIDkIc/y9aztTs1vrcQu5VQ4YjGQ4HYjuP8AAUul2MGnWMdnbKFijzge5OTVGBcljeKQxyLhh1FS20SkGebiFDz/ALR/uiprbZdQlLhiggGRKBn5f7p/pVe5m81gFXZGowieg/xoAVpDNJIzAAbTtUdFHUAVDUkC7vM9oyajoAzdVuJRcQ2yBlj+WSeRc5C7wNv49/YGtBEWOMRooVFGAoHAFUU8mXUr61mZWMkaHZnnZgg/r/MVNYSNta2lbM0PDZ6sv8LfiP1BoANMjSOB1jRUXzpOFGB981gax4Z1I6hdar4b8R3uiXtwUaSOE4gmZehkUcknnmuhsP8AVSf9dpP/AEM1P+f4VnUpRqK0jrwmOr4Sp7Sk9XvdJprs07p/Myfh5rWra9Nrei+IIrGa80dIydQsiSkhIPyPn+MY5rXrnvhZMfDur6h4Avfs6i8Et7pt7gh7rcxLo5P3nUfp2ro543t5GjmXYy9c/wA6zwsm6fvPXr/l/W+5255Rp0sW3RilCSTjbZq3xLtd30+y7x6DGZVUszBVHUk4AqodRtppolYmNER1WSQbVk3FT8pPUDB/Om28X2wLdXILITuiib7qjsSO5789ParjqrqVdQynqCMiug8crwzWMEYjhkhVckhEIPv0FNW8llO2CznDc/NMuxQPX1Oew/PFW0VY2DRgIw6FRg1Z+1ysAsqxzD/pouT+fWgCpDBflDK/2byh/GSyZPoBzk1Ml+ZUKQ28tmFGxlYYZ/ckcH8KJ5pJn3SHpwABgKPQDtTKAIL7/j1b6r/6EKv2kP2gTxhlDBN6hjjJB/wzVC//AOPVvqv/AKEKkMyrdJFz5jKzjjjAIB/9CFAFiW2uIv8AWQuo9ccfnVC/BZrZA2AZ1J9wAWx+laMvnWsxWORkBAYFWxkGq1xdCbULaK4hEpAeQsuFYADHXvy3egB1W7Vvsai5ZFaVv9UrdB/tH+lR7rMc+XOfYsMfyqKaRpZDI3U+nQD0oAs6gquI7tRt8/JKehHU/Q1t+GiDpmPR2Brma2PDFzsne2Y8SDK/Uf8A1v5UAdDSOquAGUMAcjIzzS0UARTR75InH3kbOfbByKrXP/Icsv8ArjN/7LV6qNz/AMhyy/64zf8AstAF6myRpIhSRQ6nsRTqq6leJZW5kblzwi+poAy9Tu5NLJt4plKsh27jjZznr2PPHY8dO/M6fvkD3UysssrH5XHzRqOAp/LJ9yaklto7i4kuLsfaZZDlmlAbHsB0AqQjbz6DAbkkD0I7j9R9OKAH0U1WzgEYbGcZzkeoPce9OoAKsx7bWPzHAaZh8iEfcH94+/pQifZkWaRcyNzGh7D+8f6CqzMzMWYkknJJ70ATRTfO6zMWWT7xPOD/AHvrUckbRthh9D2PuKaAScAEn0FWbfJjkt2fO5SVUc4Yc/h0oAzrT/WXP/XY/wDoK1dtJVim+cbonBSRf7yngisyO6t4JrhZpkRjKSFJ5xtXt1qWN765dUtrTy9wz5kzABR64Bz+eKAG6rFPHaXFp9+ZAMY/5aJkfMPXK/rxV+FUCJJ5yojDKheTtI9P8anh3+RFDNfWcjwtujl8l1ZBnkKwPfmoY7XTraIhLu7mcsW2hFCKT1xkZ6nPJP5cUAM1vU4Wghs/sFuYp5kj8vbklSRuP0wDmpGhXLM08QXPGGySPYD+tQavb2d1ol21raBL6zU3dtIfnd2QZKk9cEZGB60aeTfyypZxyTCIKXZUJUbhkDPrjB/EUAT+ckabYU+bIPmN978PSqGqOWhCklpJZFVe5JyD/IGrtxYSqP8ASrk2ihh8kWGmcfjwg9zk1jxXraNrlwslx55e1WS0e52lslm3KvAGeFzxmgDdSzlMfnS7YIv78nGfoOppEubOISLa7ppAwAmPy4I5OB1qs8j3KhrhxKzDJycio1t4lm87aS/OCSTjPXA7UAF9cXUmkzxzTOR5cny546HtVhAWsIH67BsPt3H9aq3/APx4XH/XJ/5GrmnHdbvB18yIFf8AeUZH9fzoAiooqOZGdQFkKc5JHXHpQBV1/wD5F/U/+vKb/wBFtXIV0+rtP/YurRSRtsWynIkJ65RsD8K5igD1HwdcRW9jqIkJLPruohEVSzN/pUnQCtovqEwHlwxWynPzSnew9PlHH61heB5LSGDV3eSNZW1vUAxY8gfapMD6f410P2y1/wCfiP8A76oAdaW8dtGUTJLMXdj1dj1J9/8AAVLUH2y1/wCfiP8A76o+2Wv/AD8R/wDfVAE9FQfbLX/n4j/76o+2Wv8Az8R/99UAT0VB9stf+fiP/vqj7Za/8/Ef/fVAE9Kv3h9ar/bLX/n4j/76pVvLXcP9Ij6/3qAK3h3/AJAVn/1zH86v1k+Hby1/sOz/ANIj/wBX/e96v/bLX/n4j/76oAnoqD7Za/8APxH/AN9UfbLX/n4j/wC+qAJ6Kg+2Wv8Az8R/99UfbLX/AJ+I/wDvqgCeqk9rKssk1o8StIP3kUiZSQ4xkkcg4wM88Doak+2Wv/PxH/31R9stf+fiP/vqgCIz3kqqsdm0Lt955WUqnrwDk+3SqmrW9w1u8LX88kk6lIokAjG7HUlecDqea0Ptlr/z8R/99VUsbyzmmmvPOi+c7Im3dUHp7E5P5UAPv7e2hijaG3hiPmxqCiBTjeOOKvms7VLy1+zx/wCkR/6+P+L/AGxVr7Za/wDPxH/31QBPWa82bl7l5khRSYoiwJwAcO2Pc8Z7Y96tNfWaqWa6iVQMklsACqulXdv9nkc3ChJJnkjDHkKTkfTPJ/GgCS4aO4v9PCsGA3zj0IC7c/m4pdSjMKPf26t58a5ZV/5aqOqkd+M49Kjsryye5u5RcRMRKI92ewUfL+BJ/EmrRu7QjDTxkHqM0AF95MlhMZJljiMZJlJ4UYzu/rUWitK+lwyTqUkcF2U/w5JOKpwSWN1oxtJJYsxh4Rv6BlyoOPToR7Yq7a6haS2sMnnoN6K2C3TIoAt012wQq4LkcA1WTUbVrmSHzUGxVO7cMHOeP0omuLJvma6RcYLENjIGeD7c0AJIzXkRhhZlB4aZANoI7DPUVA/7vxBlUZ8WJwo6n94PWpV1OxFuhjkUA/LGrArn04xkD8Kz7e5tV8T7pZ7cTGzbO2TOR5gx6dqAGeJ/CuieLbSP+2NPeO5iP7m5jby7iAjuki//AFxXD31l4y8IBmvon8UaMnIu7ZAt5Av+3H/y047rzXo2n3tvJA0zXpCtMZAHcHC4+79Ac1cW9tCAy3MRB6ENWM6Kb5ouz7/59z0sPmc6dNUa0VUp/wAr6f4XvH5aPqmcF4b1Gy8R2BvtGuEuoQdrkHayH0ZTgqfrWqthcN2j4GT+9Xgdz1pvizwj4d1sT3VrNHpGsSY26nZgLMCP7394HuD+dcc+t6x4Pih03xXEl1ZfdGuWe50f085eqHjryKn20qelVfPp/wAD8vM3WXUsWnLAyvL+R/F8nop/K0v7p1N/ewxNHaxLI4OWCohJcjqx9B2Gap+XcXLFpmkt4eixKwDH3LDp9Aar2V/ZTX000d5DLHLHGYWVwVZRnOD9ev1FXvtVt/z3j/Oug8dpxdnuNt47yFyscsc0O1v9aSHXg4+bnPOO351EIdQYFnvkjZhyscQIX6E9fqfyFWVurYRuftCZ4HX/AD6U37Vbf894/wA6BEYs1URsrkypJ5jSN1YkYOfw/kKddQs7JNCQs0fQnoy91P1/ninfarb/AJ7x/nR9qtv+e8f50ANsP9VJ/wBdpP8A0M1YqlYXEBikxKp/fSd/9s1Y+0Qf89VoAyPGWgjXtLWOG4a0v7aQT2N0hw0Mo6HPp2NZ918TtDutLj0nxcX0TxBGwhuw0LNGVxy6soIKt2HbOeldN9qtv+e6fnUF5/Zl5CYbxba4jP8ABKoYH86wnSlzc9N2f4M9XC46h7JYfGQcoJ3TTSlG+9m000+zW+qa1vbTaY1ZMbCoK46EEcY9sU6uP+FN9C/geCOW4KyW91cQNDIf9QFkysY9grDFdT9rtf8An4j/AO+qujU9pTU+5zZjhPqeKqYe9+VtX726k9FQfa7X/n4j/wC+qkSSN/utu+grQ4x9FK3kxoXnu7WBB1aSUCs688ReFbIE3HiK0fHaD94fyHP6Urq9jSnRqVL8kW/RXLN//wAerfVf/QhTmCrqEMrkAbXRR3Y/KcfktYs/jDQZLRms9N12/ORhks2VTgg9xSt4j1q+khuLfwSkMaSloxdTrG5G0g/KM4/GrUJO+j0NfqlXTmsr7XaX5tHTXPz2tvJ3AaM/gcj+dZnDawcHmO35H+83H/oBrLfxNrNnbeVrXhnyrdXEpubKYTCNTwdw4PHGcA8CrWl6lpt7Pc3lteW80ZKxrIjgggDPUe7H86JRcJOMlqZzozjBT6Pr/X6mrRUP2q2/57x/nR9qtv8AnvH+dSZE1KjNG4dGKspyCO1Qfarb/nvH+dRWmoW08Cy+YibicAtnoSKAOpsNcUqEvFIb++o4P1FbSMroGRgynoQcg159HfWcjOqXEZKHa3Pet7wxNHl5TeKsI4CbuCfWgDpKo3P/ACHLL/rjN/7LU/2y1/5+I/8AvqqNzd2v9uWX+kR/6mXv/u0AaNxMlvA80hwqjJrkb+6kvLlpn4HRV/uj0re1q5tZNOeMXUSliAMt1Oelco1zbqSrTICOoJ6UATUVD9qtv+e8f50farb/AJ7x/nQA5l29yq8npnafXHp6jv8AUCrdt5cSedOoZ/4Is5GfU+3p6/Sqa3NuzYE8f5003lqkg2yRFQMKD3GDkfXuPfI7igC0xkmkZ2JdjySTUc8kNrH5lxJHGCcDcwAz/ntVe71KzhiVY5BKzsNqhgCx/wAB1zUNs8IczXM8DzEnGDxGOPlGfp1oAl/tS3c7ITJIx42xxN+vHT6mkF1frmaG0EJj+bMrBiQPRVP8zUv2u3/5+E/Oj7Vbf894/wA6AIrC2itpLpYmEgM2fNzkyDauGz3yK0pm8lDboCCceYfU+n0FVNFltTDcy+ZATHcOI494y42rzj0BLce1JJdQ7yZJ13k5O48mgCWioftVt/z3j/Oj7Vbf894/zoAsRSNFKsicMpyKlt7hbO2a102FLKBmLFIySc/U9sAADsBVL7Vbf894/wA6PtVt/wA94/zoAmJJJJ5J6mqPiP8A4+NJtQpby1lvZD6ELhF+nzZqx9pt2O0Tx5PHWsi+njuvGOoTrdRSfZFWKKFpMLtKjJ791/lQBqWe1zvXOFUKo9OATVmqf2q0t4UWOSBRuAwGwB6/1qX7Vbf894/zoAL/AP48Lj/rk/8AI1PaOY/JkH8IU1Sv7q2+wXH7+P8A1T9/Y1JFdW3lJ+/j+6O/tQBduUEc7ov3c5X6HkfpUdLNdW0ltFMJo8oPLfn06H8uPwqD7Vbf894/zoAr6/8A8i/qf/XlN/6LauQrqteubc6BqQEyE/Y5u/8A0zauVoA9Q8DXdv5Wq2xkCy/23qPysCM/6VJ0J4P4V01YHgb/AI8NU/7Dmo/+lUlb9ABRRRQAUUUUAFFFFABVW6ZmvrK3HRnMjHOOEx/Ur+GatVVvFC3VncbsFJfLPuHGMfntP4UAReHf+QFZ/wDXMfzq/VDw7/yArP8A65j+dX6ACiiq2p7/ALE6RuY3kKxhh1XcwXP60ARx3N1cMGtYIvs5BxNI5+fnsoHQ+ufw71dpEVURUUYVQAB6CloAKKKRuQV3bSR26j3oAr6rI0djJtJVnwgYfw54LfgMn8KHUxwQtbOwhjUYjjQMXXsB+FPitYY1CqpIDbvmYtz681Xe+L3Jht1J8uTZISOScchfpxmgCC/uZ5DEn2UrGZYyS3DKd4/Ag47HuK0oJfOQtskTkgh1weKz9X+0TQRKji3UTx7wQC/3x07D681JfyfZ8xwtKZnUs78sY0HVsevoPX8aAHS5vrk24ANrER5rf33H8H0HU/l61bRWEjs0hKkjaP7tMtEhS1iW3/1QUbDnOR657/WktpxJEZJFMW1iGDHpg4oApafbzmCWeC7lTzpZJFR1BUZYkHkZFWrC7S6jZThbiLCzxZ5jbGcH+YPcVB4fuDPpqBxiSMlWHtklSPwx+o7VX1BXsdU/tCKNSJQFfA5cgfdJ9cAbfcEd6ANNIESWWRWcGTlhu4zjGQPXgUliksdnFHME3ooU7DkHHGakjdJI1kjYMjqGUjuD0NBceYIxy2M4BHA9aAIpFZXP2dFEkjAu7DoB/M+gqOJwb+Yb2O3glmwBx0Ud8dSfehbt5I1aGMYklMcZPIwM5Y47cHH4Us8EzTwBWURAN5w6bs49KAFMbm5M0cjRqR87EA7gM4A9Byecc1Q3Wsvi5GWRDKtlxhuT8/H14JrVliWUBX5TnKdm+tZ0ixP4oRWCsws9wHcESAg0ATxpdWpKLiZCpZdqBdr5z09Dz1NTWUSwxbfLWJmJZoweAehI9u/40lzNJGHLRkRAffQ5bp1xjA/GqywxGS3mt2PmBS+CBuZe6+2c/pQBo0kiJJG0ciK6MCGVhkEehHem28qzwJMmdrqGAIwR9afQB5br/wAP7jS9VN/4AkS3kQme40qd/wDRZCeMJ3iYgt044HSmaF4lttQu20u9t5tK1mMfvdPuhtkHup6OvuK9OtkcTXMjrt3yDbz1AUDP6VleLvCmieKbVIdVtcyxc291E2yeBvVHHI+nSub2UqetL7uny7fl5HsrMKWMXJj02+k18S/xfzr1tLtK2hif8su+d39KbXN37+IfAp2eJZP7W0BnWOLV4lxLAScKJ0HX03LXWhrSEfIv2l+zNwn4DqfxrSnVU7rZroceMwM8LyyupQltJbO2/mmrq6aTXbYjgt5pgWRfkHV2OFH41J/osHc3MnoOEH9T+lRTzzTY8xyQOijgD6DpUdanETWF5cvp822Ux+XcuVWP5QAXb+uKcL68/wCfqX/vqq2h/Ms8WM+Y0yj67iR/KloAs/2he5/4+HqG81i5tbWW5munCRKWOcdqZVXVrX7bp09r3deOe45H6igDA8LaT430q0uJE1bSbYaleSahMjWjSuskgXK53AYG0Vqs/j/zAF8Q6T5fvp5z/wChVd8OTeboEMTSb5rc+VICMFSOgPvjFXa9SOEoR+BXW3/BKrZtiK8nOoldu/wr7r2vZdjIaTx6Plj8QaQQ3VpNPbK/TD1W1HS/E16v+neML2Pn5haW6IMe2ckV0FP+8m7uv8qawtJW02/rXv8AMzeYVne1lftGP4aafKxykXgvQZkCajHdalIMEyXV08hf364/AAVu6fpun6fCIbGxtraMdFjjCipZI8fdBx6D+E+op8MgkX0YcMPQ1rCEYLlirIxrYuvWd6k2/ViyE7D+H86QndPgdEHP1NMmJfKDgDG4/wBKkk2xqxUAegHc1Zzjkw/TGDnrXOz+F7dNWuLzSb6fSJZkAmFoq7JT2YqRjPXkV0Ea7UVfQU3pc+u5efbB/wDr1M4KceWWxtQr1KEuaD1+T/B6HPQ2fjCzZ4Y9Q07UYc5jmuo2SUeoITg0y0u9d03WLa116ezuYL/KwS28RQRSgZ8sgk5BAOD1yK6isDx5Hp03h25W+u0tZIkM1vJ5m145V5Vl79a5quGhyya0/JWO7DYp1akac4J300Wrb2fydvU1Lu4W2t2mk3ELjgdSScAfmaqr51ppyQqAbhyVjUHhScnr7c8+1MsVuL/w3bfa/kupbZGfcuNsm0HJH17Uubh9VthdRogCPsKvuV5Dj8iAG/M15id1cmcHCTi+hoWNttWK1gUnA2j39z/Oui0a6tbciwExds534wpb0FZFx/ou62jYFzxK4/8AQR7etVaZJ3NUbn/kOWX/AFxm/wDZar6FqXnqLadv3oHysf4h/jVi5/5Dll/1xm/9loAi8SnGm49ZBWCp+1KEJ/fqMKf749D7+lanii4RkhhjkViGLMAc49P61h0AByDg5Boqz/x+Ln/l4A5/6aD/AOK/nVagBw3eUceozVK7kmef7JblFcpvZ2ydgzhSAOpyD3HSr6r+4dt69vl7/wCeaoQHzdQnkGdsSiIcdT1P16gfnQAscey48+QgyldgXIVV/vbc8AE84ycdO1WQ3JXkEdQRg1We7y7rBbyT7DhypAAPpz1NJDNI8ibLOVYATkvhCvf5VPPJ6jgHnvzQBbGScDJNNLNvKrkFThmP8J9Pr/KkWW4YYMohDA4FuCoYZ7Mfm+vI+lKiqihVUKo6AUAQ2Y2tcKM4EuBk/wCytXo7mRU2NiRP7rjI/wARVGzIMl1gg4m59vlWrFAE4+yy/wATwN2z8y/4j9abJbyom/AeP++hyP8A61RU6KR4n3xsVb2oAbRVrNtcAbsW83qPuN/8T/KoxbSLO8c37sR8yH0H+elACQKFXz5PuKflH95vT/GszUNJ03ULt7q8s45pnbczNnk/StK4k8xxtXaijCL6CojwCQMn09aAOc0GH7PrWoaemJrJyZFCQsscLAgbATwT34PXPArduJJBNHHG4UsC3PfGOP1pujRwR+HNNlWdHmuTNJKqjkSGQlwfdSwU+4qZo0aRZGXLJnafTNAEd8T/AGfcZ4Pktkf8BNSQ/wCpT/dH8qjv/wDjwuP+uT/yNSQ/6pP90fyoAt2LfPJFgsJY2UD3xkfqKr06KQxSpIpwVYGnXaiO5kVfu7vl+h6fpQBna/8A8i/qf/XlN/6LauPrr/EOf+Ee1PGAfsU2M/8AXNq5CgD1fwN/x4ap/wBhzUf/AEqkrfrA8Df8eGqf9hzUf/SqSt+gAooooAKKKZLNFEyLJIqs5wgJ5Y+w70APooooAKqaonmRQxLjc1xFt/BgT+gNS3lwttbtIRuboiZwXY9FH1quNPkmuI7i5vJvPTITyjtRM9cA5ycZG488npQAnh3/AJAVn/1z/rV2WSOJC8rqijqWOBWLoGno+i2b/a75X8sYZbgjA54x0/TNacNhaRP5gi3vjAeV2kYD2LE4/CgCsmpfaLjyrd7eNSSEaYsDLjuo4yPfJzVhbeaS4Et3LG6p9yJFIUHIIY5JyRjj0qe4ijuIXhmUOjjBBqCxlfc9pM26eLuerp2f+h9waALVFFFADGmRZ0hP33BIHsP/ANdV9Oh8lZZGPzSykkn64FSvawvdx3TJ++jUqrA9j1FMjRjeyGU7gMGIY4Axz7Zzn8KAKbG8uL8osKiJZsSszkYQcjHrnPP1FX4LaGGRpEjAkcYd+7e5qF7gLdShLcvMqgAL1K9eew68epqyHbyPMaJg+MlAcnPpQBU1QwkR8oZRLHxnnG8VYtLdbcOfMeR3Yszv1PJwPoM4HtWVq9iJLNHNusE7XkbF4n+blwCS3Hb+lbLsyui7dwYkMw7celADbcMqMjdVY4OOozkfzp6FGO4bW5wcc9O1MuJFiiLswUZA3EZAye9Mso5UVzNt3u24hR8o4HT1oAztPhkt7RZ4F3yQySxzKBzMokbke46j8R3rQm8m8099rh4pIyVYfofqDUGluftd/E67H84SAAcbSoH48g/nVoW0arMqgqJslh2yRgkCgCpoUu+0aFmy8TYIx0DAOo/AMB+FW7vd5DiMlZGG1WA5BPf8OtZ+mz2ts8sdzcxRXRKRyI7BcsqgAr6gjB/HFacaKkaoudqgAZOeKAGLFtMIXOEB6cDOOpH506dpFhdo1DOFJUHoT+FAlTe6njZjJPTmm2c32iETKpCNzGT/ABLjg/jQBDvuPtycBUMQLKxJA55/HpWXaJHbazLPDM85ezeTfLnk+YOPp6VpW/mENHDMPKHzkupZjuLcdeMYrmruG+1J/OsdVmsAbdWiRrbaVCsUJYMM8kq2Mfwj8QDpIVhjnt1uNz3JQ+XK4wW6EjGevA49qltY2jkndoxnfiMjGSgHA/PNY2t6zqFpd6cqeH7243s5k2Op8ts7UyRkYOSxPYAZ61nP4o8QKu+TwvdDP3Ehcvk+WGIYlR/Flce3WgDrbSTcrKYDAVP3CR357VNXIv4o1pY0ul8K3bwFJXdVb51KtGqKc45O9icA42Hr1re8P3l3f6e1xe2TWconljETZztVyFb8QAfxoA0KKKKAMbxxoieI/COp6K2A1zbssTYztkHKN+DAVwvh3W/7S8OWGoNayGQxCO6SMbmimQbZAR1+8Cf/ANdep15B4JKtq3jBoxiM+I7oIB0wNucfU5Nc8vdrRa63X3a/16nr0F7XLasZfYlGS/7e91r56P8A7dNl7rzM+TbXMiqOXVdmD7BsEmmafcyoEt7xJUb7sUkmMygeuOje3frWhVe/aFbR/PTehGNgHLE9APfNdB5Aukzxxz7fMUSLO7Fc843nnH51ZmXy5nj/ALrEfrWDZac8lm6zOkS+dIzFRvkJ3Hkue/uB2ragkefT7O6c5aaBST/eI4yfcgA/jQA6iiigDP0yFm8RaldxsPJEEUTgZ5kBYk+n3SK1qwdGk1bTLjUIriD7XaPI1wJS3zknHyKo68D2rVstc0a8uvsqvLDOeiTwvFu/3SwAP4V7NKSlBJO9kjgmrN3VtSzXjuseFfirN+0HZ69ZeIJE8HAo0kAuyEWMKN8Ri7ktzn3617PPEYzn+GoqqUVKwJ2FZdp9uxqNowSWX5Xx96pVb+Fvu/ypGXafbsaoRAuTG5YYO7kflUk/8GOu4f8A1/0pgOYmYdGbI+malTDT7T/cZv5f40AFMbiZG9QRTzTZF3Dg4I5BoAzPF2oXGl+G76/tbeS4miiJVE6jtu+g6n6VQ0Pw9oSQWmoJZ213dGJH+2Om55DgHfk+vWpfG2rrpfhaa48uRprhRDCFHAdxgFmPCqO5PFWfDkaw6DY2wCAwQJCwVtwDKADg9xx17ivPxrakl5P9Oh6uH5oYXmTteX5Lv5X28zQpNpZ42C7ijhh7EdDS05GCqVypyMkZ54Ix+GQT/wABFcRkNJJOSck96KKBycDmgCfT4JZ7pVhIVl+cseigdzU/ii6juL7TfJlV1KTbsHuNvaluWFlZ/Y0/10mGnPoOy/41iT/8he0/65S/+y0AXKKKACSAAST0AoAASCCCQR0IrRtbNtSVXXEbqdsjEcN7/X2qNLWK3Tzb8kHqsCn5m+voKktL6WXUrbIVIlcKsajCrnj86ANttMtjYm1VQuQPnxySO5rlL+zkgd7ZiYmDAkpxnnP6/wBa7iqGs2IvIMpxMn3D6+1AHJRRpFGI41CqOgFPp80M0JxNE8Z/2himUANIwdwAbnJU9CcEZ9jzwaRG4AJzngH1PofQ+35U+msvXGORgg9GHof88UAUlt/MN80TGKd32iReowq4qzZT/abOG4C7fNjV8emR0qpNM9va3syqR++CqzkYViFA3H0yRz0+h4q7bwrb28cCfdjUKPwoAkpY0eRwkalmPQAVLDb7k82VhFD/AHj1b2A70slxiMw26+XGep/ib6n+lAEg8i0DbtlxORjHVE/HuafqskkgibHyNGpLDozY7+4qjVm3JeyngU/NlZAvqBnOPfn9KAK1A6iioL65S0tmmfLH7qIPvOx6KB3JNAEvh+O0k8GxSs3mTLezPOqtho5GdsqfyH160/S7yE24mFvHMJPmG8k7QRwKami3Wn2819qE8Rv7uJI1jgjISMDLHcecsCcZ9vemRNjEbY8wKC2OlAFjU7xW0+5C2Nov7p+Qhz90+9Qp80akYXKjp24qK/8A+PC4/wCuT/yNOikUeVF/E0e4fQYz/MUATrLIvRh+Qp5ubgnPmnP4VSguN1zNbyDbInzKP7yHoR+OR+FWKAE8SzXA8OXsXnMC2nzsxz2MbdfwFcF+Fdt4leX+xdaWaMKY7KSJSDwQIjk/p+tcVQB3HhybxbHcap/ZVjp1xYf21qGfPmKPn7TLnGPfA59TWrJdePN8UkelaOV2sskJnIwezB8+w+XHfrxmrXgb/jw1T/sOaj/6VSVv0Acq934+VG2aRokhH3Wa5Zc9eSOcdj1/+t0tnL59rFNmMllBby33KD3APfmpSAwKsAQeCD3FUtHszpunLavMsiRM5RtgQKmSQMDjgcZ9qAJbyaRCkFuFM8mdu7OFA6sfYccdyaW2tYoGMnMkzfflflm/wHsOKj00CRDesAWn5U9xHn5R+XP41boAKKKjupo7e2kmmJCKMnAzQBWtcXd0102TFGxSAZ4yMhnx9cgew96vL94fWq2mxmHTraFk2GOJV2/3cDpVlfvD60AZ/h3/AJAVn/1zH86v1n+H2VdBs2Zgo8sck470l1fPOph0tftD8h5UYbYvxJwW9vx+oBYnv7WCbypZdrcAnaSFJ6AkDA/GnXMNrcuI5lR3C5AzhgD3GORVaC0ud0ZMwtYlbzGihJYyN33ueoPpgfWrkMEMJcxxhS7FmPUk+5oAh0+R9sltMxaaBtrE9WU/db8R+oNWqp6srJayXcJ2zwpuBzjcoIYqfY4x7ZpftksbKlxYzoSD80f7xMjtkc/mBQBbphH+kK3zfdI68dR+tV0urqUbodPkVecmdxGePQDJ/PFN/tS0QATu8D45SRCCP0wfqOKAJNqQ3zyuyKJgqrluSw7AfT+VS3DbUB83yxuGTjOR6VnXOr6WssMralBGqEhg2fmBHSrkF1Y3gVoZ7efDfLhgSG9vQ0AU7iOeNBulkeEzIVWQfMp8wcZ79/wxWo7BFZmzgDJwM1W1T/j3T/rvH/6GKkTzpCy3EMSpjgB93P5CgBlnL9oR9/zbGx9zAPGcj1qzUVsfkMe1FMZ24ToBgY+nBFSgg9CD9KAKN5a7rqOZJGiJO0mMYfkc89McDqO1Q2Ctb6nJEi4icMDuJLblwd2Sec7/AE6jrU32yZAytEHf7QIUx8qnPPXnoP14pLHzjql21yyFwkflqoOEQ7uMnqSVOfoKAEvE33wwPMUxkPGu0FsEHDE9Rg9PrV9FVUCqoVQMADsKglk8iVyIGYOoP7tcszdMH8MVYoArXc0SuI5F3KEaVsjOFX+v/wBekmRS9tax4jCESbAvGxe3HTkjH0oZUuJp1VxkII2U8qe4J/Mj8TUlo0kkbNIgQ7iAv90DjH86ABvlmLpCHYkIzBgCB1GfxJ/OsvUQZPEAjCsx+xCTAfbkLMpPP9O9Wo/OVZpoxGI3mZ3fechQcdMY6LjrUMUwk8TJIokCtYkBWQgg+YP8/lQBe8yeS2leNQH3HywTwcep9Dg/hUmFm8uTc237wXpz2zThski6Bkdeh7giorTzgZklTaqyERndnKYGPp3GPagCG5kMF5AGZm8+cbQM4XCEHP41dqvNdLG0qJG8jxqGIA456DPr/hSxT7rya2ddrJhk/wBtCBz+ByPy9aAJ6KKKACvHtEL6X478Z6RFbGW0jv0vFw37xTPHubGeoyDxXsNeWagvk/GjXVxtFxpVpMP9raWUmuet8cH5/oz18tfNhsVT/uJ/NTh+jf3mnJcx/Z0ngP2hZDtjCcEn0OemO+aZDBK0iz3ThnUkpGv3E/xPv+lTxQxR3DXCRIJGGGbHUVI+zd8jL6lc8r+Hp710HkFax/1Un/XaT/0M1Y05o4bFrcwiRYZysYcnKoVUgDHbOcfSq9j/AKp/+u0n/oZqee3E2nzSRssdxEyskhHTqCD6igCfzov+fSL/AL6b/GlE8eP+POE/i3+NZUGpW72jTMy+ZGwSREbcQ+QMD15Iwfer1AEwmi/59If++n/xpszWs8Rin0+2lQ9Qxf8AxqOigCpZQXNhe5t7yV7OQ4NrN+82kn+FjyO/HNbclupzt4Nc9rumnUoI/KupbS4gcyQTR9UfBGcd+tamg6kL2NojLDPJCNkksLblLDrn0PfFerh6vPGzd2vyOOpDllotB9OPMLZ7fyp1yu2Q+h5pjfLC7HupAFdBmRRKzWqk8cDk8VKpRbjP3jsIPYcn/wCtTJCWi59Bx6UhP+kAdyp/mP8AGgDyHwtefGiT48alb63aqnglWl8lvLjEQi58oow+cuTjIJPfPavX5iVjOPvdB9adTOHfd1C8D61MY8qtcbd2BjRoTC6hkI2lSMgiueXTdS0Gcvoccd1pTEtLprttZCerQt/Cf9k/KfaukoqZ0ozWqN6GJnR0Wseq6O3f+rlDS7+z1S2kuLCUyCJtk8brtlgb+66/w/XoexNWd4dBtA2nkN3IwB+Wc/nWdc6HDfFr2zc6fqXklBfwfLIgPb/a+hquus32nrDb69olwFjRY/7Q04edE4UYDPH99Tj03V5tXDTp+aS3O+MadfWi9W7cvX79n+fkbNKjMjq6nDKcg+hplhNa6jAbjS7y3v4V+81u+4p7MvVT7EU6sDGUXFuMlZli4UTo11H1zmVfQnv9D+lZc/8AyF7T/rlL/wCy1eikeNt0bFTjH4VBfqjaraTwjCmOXcn9w/L+npQIuWtt5yPI8ixRR43ORnr2A7mpTdx2/wAtjGUPeZ+XP09KLnMOn28HIMhMzj9F/QfrVOgAZmZizEsT1JPJqzpkkMF4k8+4qnICjJJqJISU8yRhGnYkcn6DvTrl45Cphj8tFUDGeSfX8aAOpsdQtrwlYWbcOSrDBx61arm/DU8UV26SMFMigKT656V0lACMqspVlDD0IyK53xLpc0cIutNSP5DmWE8Bh7Hsa6OjrweRQB54bt1YB7K5A7soVgPyOfyFLHfWciBluogD2Zgp/I81bmXy5nj/ALrEfkahkhhkOZIo3P8AtKDQBDFLHDHfPMFaEOxkVgCGXYMjB68VesYobaxjuJo3eNkBjTdlUPcFjyQD+PT61iPpvnJcw29zJbJ5jKUUAocqvOP5c8Vq2UrAFb5TG/PlgfdmOOSv07g/TmgCSWR5X3OcnoPQD0FNprHblgNqcAgfwHgfkT09+PTLqACljdo5FkQ4ZTkUlFAEtyF8zei7UcblHp6j881SvYHm8iSGUQ3NvMs0EhXcFcZ6juMEjHvV+P57KRMZMbBwfQHg/wBKxZrHUWecw6tNEsswkC43BQP4RnoOnA9KANKfxNctAul6taIbuQFopbU5SQLycqeU49yPeolgjW9e4DN5joFK7uMA9QK58Wkja/8AYb3X7iCe7nDQMYSyPv3Hyz2CggKM/wB4Vq6VZ3MLq91qMl5JHEIWZ0C5YdTx6mgC1f8A/Hhcf9cn/kahvAUtY7qPPmQqCADgMpxuU/XH54qa/wD+PC4/65P/ACNRXu46b5a4BkCxgnoNxAz+tACwKrandSjBZFSHOen8R/8AQhUzF2vrSBDzLIVZcfw46+3OPzpLSBbeERhmduN8j8s5xjcx9eKlsh/xPIpMgCK3eRvoGX+tAFbxfvl0nUpFk2r9muWZQPvZRgOa4yuq8VyeRpF4GYlW06fgDPzbCR+hrlcUAer+Bv8Ajw1T/sOaj/6VSVv1z/gdgun6oWIA/tzUeSf+nqStu4uEhdIyrvI+SqIMkgdT7D3oAlqnqZ8xI7IH5rltpwcEIOXP5cfjSm/jjlVbiKS2RsBJJcBWb+7wTg/XrRZlLi4lvFbcn+pjI6YU/MR9Tx/wGgC39Bge1FFFABVK+AubmKxIVoyPNmH+yCNo/E/yNXcgDLEADqT2qno+ZLMXT/6y4PmMf5Y9sYoAuUq/eH1pKVfvD60AYemBTpujBo1kBypUjOPlY7vwx+tbnPvXP6FC95Z2376aGK3gCDy2A3O3Lc4yMDaOMdTWp/Z9uwbz/MnZjy0jk8emBgY9sUAWkZXUMjKynoQcilpEVUUKqhVAwABgAUtAEdxEJ4HhZiocYyOoplpJOS8Nyo8xMfOowrg9CPQ8cjt+NT0UANlkSKMySNtUdT6UkqM7J8xCqdxA7kdPwoniSeF4ZBlHUqw9qjkZojbwRbck4+cn7oHPPr0oAW5EbTW/mSMHDkxgHqcHP6U54IXZWeGNmU7gSoyD65qG3BmupLgyMUUmNIyo+Ug4J/HFS3MjRhFjXMkjhV9B3JP0ANAFTU97OjFCEWSMAlupLjt/WromjaZolYM6/eA7fWq2pBY7SJcnAniAycn74q53oAQ7UDNjGeSQOtRWsUSKZI4mjMnzMp65+nSmhrr7QfMWNYRkhlft6EEfyNLaz+a8sZKFkYEbCSCp5U/lQBWv4bhH+1wxm7kQkxxM+1UyOoAGCevJ55p9zuhePURGQQgWdBydnXPHUqc/hmrU0qQqrOcbmCj6mn0AIrKyhlYMpGQR0IpaRFVFCooVR0AHAqG9maFInBAUzIrE+hOP5kCgCSGGOEERoFz1wP8APrTZ3ykkUbDzth2ruweelNc3IuWKqrReX8o3Y+fPQ/pj8abi5c4OxGWTIcrkbPQehoARIXzGskMTR4BYBckP6kk/0zWVdrHJ4tSPzJIWWzO0Jj95lxuGDwe1bKySq379UVAgJkB4LZ6Af561VP8AyMw/68T/AOjBQBbBRYhHEVUL8gBJGO2BVa3QWtuJfOebaCgUMSGJb1Ykk9s1eYBhhgCPQ1FMsCmOSVlRYz8u4gKCePz/AMaAI2YR3UNvEwLHLSjq23HBJ+uKj1aSwiSKW+ulttr/ALqTzNjZPGB659Oain1CVoi9nbNIjHbHMcEOc/wr1PfB4Hvjmqp0yQsr3BM17P8AKXbpDH/Fj3wSB7njgGgCxaT6kIfOWAXcDnMW6QJLs7E8Y549Dg81LHLq8ynNnbWZBHMkxlz+Cgfzq+AFAVRgAYA9BRQBWaK+Zdpu4kB6skGGH0yxH6V5n4rtprb4xWZW6lY3OgsA8gDZKTcjAxgYYV6rXmXxJHlfFLws2SPtdhe2xIOMY2PwfXr+VYYjaL81+dj1sn96pVh3pz/CLl+gSfbLqbyoL5kRSRJJFGFUewzklv0H6VN5Udm1vHBHlppBHLI3zMy7Sx3MeTnbj8atxRpFEscahUUYUAcAUtuqtrFmZP8AVoJJD9QAf5Zrc8kpjTp7JpfsZSHMsnySISjDecHAxg1Zs7aScSpqE0boYz+7RCEJBBBOSSa2LDX8wsGtFYedJu+bvvPtVezuSt758g3INzMnHI9P1oAyNW0tLq3QI3kOjKY5I+nBB2kd1OORUlvcO0hhuIxFMBuADZVxnqP88Zq5LJmaRo18tWJIUdAPSqOryabq2oWscMc9uYnZmdMqpcLggMPr2/oaALJ4GTwKqSalZJJ5azebIeiRKXY/gKjjsImuLhLrddqpRlMr7woI4GOg5UnpUlmu69updoAUrCmPQDJ+nJ/SgBXuHKtusbnyyDk/KTj6A5/rWXGlto9lf6vpst0rxo0ssE0jKhI5OUPAJHfHpW/WO0On6l4wSxurdp/LszI4BIXO4bd+OowDgHI56V0YVz9olH5+m7Mq3Ly3fy9TplYXFpFPsI3IHCntkZxVO7JMEhPJ21pO21RgdwMfjWfcriVY+xf+XNeqcgS/cP4fzpjN++LYJ2/KAO5P+RTp8+U2OD2NJEibVYKMkZz3/OgAw7nnci+gPJqRQFTaOAKKRnWNS8jKiAcsxwAKAFpkzfJtX7zcClkJWLcvPQA9uadbxDeXY7iOrY7elAEm0RQLGOCeo9BUdK7FmLHvSUAY+o+G9JvbwXwhe0vl+7dWkhhlH1K4z+Oaikm8V2EgEkVn4itP7zt9nu1H+8Bsf8QK3aKyqUYVNZLW1jqpYypCKg9Yp3s/6ur9bNGTaa9od1dCzN4dOvzj/Q9RXyXz/ssfkf8AA1fWG5j8SWELRspkjkUqw4ZTtovrGz1CDyb61huYv7sqBh+tczrEN/4TgOraBqckcFuhH9n3QM0BDFRhMnchPHQ49q4auFcFzJ6Ja3/4Y7KLpYmahC6nJ2S6a+d7/g/U7O83Xd3JJGuIk+UMxwoUcDmoS0MR/dgSsP42Hy/gP8fypk00k23zDwBwoGAv0FMrlMRXZnbc7Fj6mkBwaKKALWliP+07ZXUurSYHOBnGRn8q6+uBuZpLeITQyNHIrptKjJzuGBj36fjXfnrQAlFFFAHLa/AYdRdv4ZfnH9az66rWrFr23Xy8eahyue/tXNQws7sG+RE/1jEfd/8Ar0AQabGrPdSS5ESzckdWO1eB70uoKt6Cso2gY2bf+WeOhX0xTUl8yW4VAViWYhFz0+VefqafQBBps7S26vKo8xcpKpGcMOCP89jUzL5ZABzGfunPI9j/AEP9Qaqvm31BXx+6uMKx9HH3T+I4/AVcUjBVhuQ9R/n6D8qAEopoypCsc8ZVv7w/x9f8MUrNtRnOcKpY4GeAMmgB0d1bWr4upliilHlknrz6Dvg4NVp7yCGbyWZmlz8qKhy304q3ZaSwlW/1W4FsxDCOLgsiMQeg7naOSauzagkarHZx42DAlk5fHt6UAZR0rWNS8tFt7e0VZklQXMnMmxg2Cq9iRjvUUkmp22t/YNTs7e3aaFp4vJnMuFDBSCcDnJ9K0rGdo9QindzkONzE5471F44iu7fxFb6jb25u0ktDAY1kClGD5DHP8JBOTyeOlAFPVHSPTbqSR1RFhclmOAODWbe6xY/YgEkaVleMKEU4kYMpKo3RiMjgHjNaH2O0awuLjWlN9ceWzJAvFvCQMjGeXPTkj6AVqfbIG02Gxi02zS1TayRGPKq2c5A7HPNAGYt9amxa8aTy4Uzv3jBQg4KkdQQeMVNpA329zM6tFcTzhJI5AQ8SKMqpB6dc/nVxI9Fn1VdSvNOC3O8SM0R+R3HRmXuR6/T0p/iS4t7S/h1VMizvFWG/ccbQOI5SO23JB/2T7UAZHiNt+h6o2BzZz/8Aotq46uz8TxPBouqxSfeWzmBx0P7tua4ygD0zwPb/AGhdXkuIw0Uet6gsSNyM/aZctj8cfhXSwW9vBnyIIos9diAZ/KsXwN/x4ap/2G9R/wDSqSt+gAIDKVYAg9Qe9UFVdOuuPks5cAKAAsL5Jz7Bs/n9av0jqroUZQysMEEZBFABvTzPL3rvxnbnn8qWqS6TpyJtjtUiOch48q4+jD5v1pTBqAXy1vk2Z++0OZMfXIGffH4UAJcsLucWcal41bNw38OB/B7k9x6dau1Hbwx28KwxLtRRxzn8T6mo7yd0ZbeABriT7oPRV7sfYfqeKALFJJIkKNLIcIg3MfYVTMN7A3mxXD3ZP34pSFH/AAEgcH65z7VVkmvptUSCax2pgSW6ecu1ypGS56jGQQBmgBfB6bPDVk3llHkj8x1PUMxyQfp0/CtasXw5cXSaFaiawdsR/KYZFYMMn+8RitW2uYLhcwyBiB8y9GX6jqKAHxSJIGKEkKxU8dx1p1MVNiMAx5JIJ7ZqIR3K6csRkWW4EYVn6BjjBPt3NAE0UiyAleQDjPY/SnU2JBHEsa5woxzTqAGGT9+IsclSx9qWRlVC7YGB1NOqK68sxiOVWKudpxnjv2+lAC28YjjzsVXc7pMd2PWlkXc8Z2bsNnOcbeDz70O6xkAg7emR65wBUayM2oNECdiRAsPcnj9BQBDrEaSQws65KXERX2O8VdrM1O5PlONoby7mIABxnbuGT1+v5Vp0AMkV2ljZXIVSdy9mGP8AHFVIFaPUpUXOxsNtHQcH8uauSPsAOCckAAe9NihjjlkkUHfIQWJPXHSgBk+JbhLdo9ybS7bl4OOgz65wanoooAZPKkEDzSEhEUscDJqhOL65eG5SHy4oSXEEhw8pxxnsMdQPXGcdKluFW51JLaXmOFFn2/3m3EDPsMZ+pHpV2gCK1uI7mIyR7hhirKy4ZWHUEUskypPFDtYtJkjA4AHUn8xTWUwiaSMF2kYEL74A/wDr1XtorhJGUXfnMT+8ZhwvPRR649/woALuRYZZI7pneG4I8sAfcwvI456jOfU1UtvNGrQBctJ/Z3WQYP3xyRk/lmtOeSeNv3cJdAuTg8k9lA/rWZYxzDxG0twFE8lmd4XoMOAAP896ANaISBB5rIz92VdoP4ZOPzqGWFncIbgEbt+wgH5eOP0/WrNZq2UUd9FNJI7XTKxaTJxgdhzx978vfmgCxa+askcTSb/LhIkx03ZGP0zVqqlnIk1vKLYjcGKlnU/MQANxHBP9aigN9YWyLdEXkaDDSxrtdR6lSTke4OfY0AaFFIjLIiujBlYZVgcgj1paACvNfi+pj8ZeBbzoBe3EGe/zxdP0r0qvOPjP/wAhjwP/ANhlv/RRrnxX8P5r80exkX++W7xqL76ci9SyiNI4RuBmdi20fwoARk/UnA+hp9tEZ50iBxuPJ9B3NVo5ku557yP/AFcj7YgO0afKv8ifxroPHGWH+qk/67Sf+hmrX3Y/dj+gqrYf6qT/AK7Sf+hmrcn+rj/3Sf1P+FAFO+3sIYkkMfmShSw6gAFiB9cY/Gqd7lZ4mthtisCGdV6NkYK/gp3flVm5kVtQtoQRuj3TPzyq7So/Mt+lQov/ABJZpSu1plaVh/vc/wAsUAXdM3JqWqTLgg28Uf0IY5/Rh+dSxRRhSseEJJYg9CSc9abpTL5mpsDlfLRf+B5XP6badQBBcXHkSBXhmII4ZE3c+mByDVGG7n0u6nv7jRbt5LtU8t4UD7IxkfNznr2ANbUMkYk3SICccHtn1I702dpGlLStuY9/b2rSlUdOakROHPGxn3TarcW0M1nemCbO/ZPHlcEdCAcjrSvqyvDawTQr/aL3Mdv5PJDFmxnIH3cZOfSrlNCqJlmCr5iHKvj5l+h7V0xxs09VdGTw66PUl8eWEWkRw69DeS2tlDIkd3bKjOkis20NgcggsPwHtTlKMgaNlZenynOD6U7UNUun02W3n2TxvtVg45I3DuKxxpwsJ5LjSN0e4bWtpJMxkZyMcZBHIBOadDFWXLUfoFSjreJr1wfx18C3/wAQvAb+H9N1YaZP9oSYO+7y5AufkbHOOc/UCus0fVFv/MiktprS6hP7yGUcgdmB6MD6itCu6cE1ys54y6o5z4ceH7jwp4K0Xw5eak+ozWMHlvcNn94c5wM84GcD2Arpn4UKvTufU01jtjX1L8flSDihKwBQOtFFMDxv4a+Evixpfxi1rWPE3iSS78NS+b9nhN4ZFkBb90Fi/wCWe0denTv1r2QUv14oP6VMIqKsht3dwJ7VzHj9DPFpFp/DPqcCsD3Abd/7Ln8K6auZ8UK8ni7wupP7kTXDkZ6uIjt/mazrycabadjsy+KlXV1eyb+5N/odAetFFFeQWFFFFACrBNMjmDIeJTKH/uleQf0ruBXF3UmLOOxicgTAyXRXIJXoqZ9+Sfb61o+HdUaF0068fKHC20p657I3v6Hv069QDo6KKKACuS1idZb6ZYuI9/QdC3Qmul1KZoLKR41ZnxhQBnk1yBjkH3o3H1U0AVbT/WXP/XY/+grViq9r/rLn/rt/7KtPVrm5klhsLWS4kT5WcACONv8AaJI9QTigAuolmtnjZtoYcN/dPY/gabpsj3MQQjdOh2SKvJ3Dvj36j61ZTSdMtyZb6b7dcn723kfTPQD2Apk0dsfltbVLIdzbsUZh6MwIJoAszQLZw/aL6aGED7sbnLFj04Hf+fT3FW41G8mYxWCx2sMg/wBZG3ykdwO5PYg4xUNvp0P2pZI1leXJILzO3JGCeTjOO9W59hcRhi0aAqcDG45B3A+2MD+oJFAEMUaRRiONdqL0HpT6b0IVjknlTjG4ev8A9btTqAJbOVIblJZIhKqnO0nrTtQuTd3bzHIB+6D2FQUUAQX/APx4XH/XJ/5GpIf9Un+6P5VHf/8AHhcf9cn/AJGprdWaJNoz8oyfTigB6Acs33R1Hr7VHOqzxvHModJFKsp6EHjFSOcAIDkDk49abQBkvczXXhfV9LvmY6jY2c+x263EGxtjD1IHFcxW744Ux6Wb5G2NFHNG3+0jxMCPz2n8KwsUAej+C9QuV/tm0j0yaUx6zfuHEsYDKbqTkAkHqCPwroPtl/8A9AW4/wC/8X/xVYXgdmW+1JTgrLqOpY9il7Jn8/MH5GusoAofbL//AKAtx/3/AIv/AIqj7Zf/APQFuP8Av/F/8VV+igCh9sv/APoC3H/f+L/4qj7Zf/8AQFuP+/8AF/8AFVfooAx9T1LUobb91o84lkdY0/fRE5ZgCQN3OBk/hT7Vrm2B8vRLku2N8jXERZ8ep3e5/OrUC+bqVxNIo/cgRR55IyNxP45H5VboAofbL/8A6Atx/wB/4v8A4qqeqTXri3mOj3aNDMpDJcxAgH5T/Fz16HjgVt0FVcbHUMrcEEZBFAHNeGLnWo9KtEfS2ng8oYfzolcdeo3YP6Vbu2mmuY3k8O3LyMpTzVuIwUUc9Q2RzVvw7/yArP8A65j+dX6AM57m+dAraLcEAg/8fEXOP+BU77Zf/wDQGuP+/wDF/wDFVfooAofbL/8A6Atx/wB/4v8A4qj7Zf8A/QFuP+/8X/xVX6KAKH2y/wD+gLcf9/4v/iqPtl//ANAW4/7/AMX/AMVV+kY7VLHOAOwoAxp7vU7VRLFotzJEgOY/tMXGTktncc4GeKdHeXNvA92+jTZZA0jieLnA/wB79PetaRmVQVUsSwH0yetNn2YTzACN46+vb9aAOI8U6bZS3Sahq/h+6aS4mSAul8qrjkLlVbHQtye9WNRPj6S6hubA2VuqwlGhutoR5C7c4VmPClP4uSp6Zrp9YVXtY1fp58XfH8Yq0wYyLwhQdc9c+1AHJrb+PIVkk87SbqXDCJZAQE+bAJPfjk8e1WU/4TZL+1Z20ya0M3+kqsZD+Xg/d+bAOcHPPHaulooA43S7fx+l/bf2hc2T2Vu6GRYwBLcDy235JJHL7cDC4A59K6T7Zf8A/QFuP+/8X/xVXqgvpXhtWaIKZThYwehYnAoAzNPu9QklnvDpFyyzMBEDPEMIox/e7ncfxq39sv8A/oC3H/f+L/4qrlvEsECQryEUKD60+gCh9svv+gNP/wCBEX/xVNa+u4ULHRZlXPaeLqT/AL3rUvzQJEskn7yacFmHTqTj6YGB+FW3VXG1hkZBx9DmgCgl7qBUFtEuFPp9oi4/8erNnutSbxEnl6TOG+y8j7RFyvmDP8VbPnuwgZNpDSMrbfmHGR1HTkDP5VRi8yHXI/OZ5XFidxUZJPmD9KAJLm41CWEoNIulOQQVuYgeCD13e35VHf3epPCYYtGnDyAjd50XA7/xf4Vqwszxq7IUJ52nqPrUZt1EbiNmjd1I8zOWXPpmgDNtLi+US/8AEolEzMDJsuIsKcDAxu9MVYa+vkUs2jzqBySbiLj/AMeq5H8khiWHYuNwYdCe/wCNGGkBSWNCjBg3Ocjt+YzQBj/ar7T2eRdGufsZ+ZkE0R8o56j5vu+o7dfWrkd/eSIskekTOjDIZbiEgj/vqrzh8KI8DDDP+7nn9KqiCe3uJHtViaGT5miYldreqkAjnv8AT3oAZ9sv/wDoC3H/AH/i/wDiq88+MlzdnUvBckmmTR7dZwoMsZ3kxkYGG4/GvRX1BYRm7t57cD7zld0a+5YcAe5x74rh/i86Ta54DhQJKX1sSgZ+VlWMk8jtzXPiv4fzX5o9jIv99X+Gf/pEiS5vr6z0ae4TSphPKhWImaPAHfjd3OB+dVraS6t7eOFdLmwigf62Pn3+9Wnq7W19qFvbRTCJeX8uQYG1CMAEf7RB596dNBLDzIhCnow5U/Q9K6DxzHsbq78p/wDiVzH99J/y1j/vn/ap9/e30dvmPS5lY7VBMsZxuIGcbverNh/qpP8ArtJ/6GaJgbjUXB/1FvhNv9+TCnP4dPrn2oAytP8AtStPcnS7hpH3IGM0eSAcZPPUkfTGAKsWN1cS6dCv9lyuhiCn97Hg8YI+9WrUc7PHBI0Ue91UlV6bjjgfnQBk+G7m/TSbjzNNlYtcsgxMnRfq30/HNXftV5/0C5/+/wBH/wDFVNZ2TWMXksT82JOTzllBP65qegCl9qvP+gXP/wB/o/8A4qn/AGq8aL/kFT5T/prH0/76/wA5q1Sq2056+oPegCj9qvP+gXP/AN/o/wD4qj7Vef8AQLn/AO/0f/xVX5AFc46dR9KbQBmXt1d/Zm/4lcw5X/lrH/eH+1U5urzP/IKn/wC/0f8A8VUt/wD8erfVf/QhUWo6glrIIVt7m6nZdyxQR7mxnGT6DPc1UYuTUVuKUlFXZS+3Xh8T2Nt/Z8savBKzkyKeBjB4Pr/OtsyFQGkiYLnA+YZJ9qTTFkRDfXsKwylNgUHJHOSB+n5UsbGU+cRtB+6voK9elDkgo9ThlLmk2N8yWRw5t2CgYUbhTt8n/PBv++hUlFaCI/Mk/wCeLf8AfQpd79RC3/fQ/wAafQOtAEe+T/ni3/fQo3yf88G/76FSUUAR75P+eDf99CuY8UTXK+L/AAyUtXdQ11lQyjJ8r1J+tdXXM+JHYeNfDEePlJumJ9xF/wDXrDEpuk7L+v62O7LmlX1dvdlt/hf57PyNP7Vef9Auf/v9H/8AFUfarz/oFz/9/o//AIqrtFeSUUvtV5/0C5/+/wBH/wDFUfarz/oFz/8Af6P/AOKq7TowGb5ug5P0oAzLO4vZHuW/sufAlIJaaPjCjA+9U5uJtvzaXcu2QV2zRqAQc5zuzT9LaW+vb+OMriMgxwhcbeoYA924DY6/NU9AGrpfiK6kTy7rTJRIP4jNEoI/76rVW9vmGV0ecj1FxF/8VXK06OSSM7o5HQ+qtigDoNS1G/hsZpP7InU7SAfPi6n/AIFXMLrGsKeLS8/8CI//AIqrU9xPOFE0zyBemT0qWzgQJ9queIFPC95D6D/GgDOj1fWVguJ5LCXD3HlxlmhYs21emTzgDJ+lPuL68WFIYNJmitMfIiSxgH1LfNy3rmq9pO17f31yzKY0uGjgRTxGAqhgPxGPwq/C6jKSZMbdfY+tAGf9qvP+gVP/AN/o/wD4qj7Vef8AQLn/AO/0f/xVX3jZJPLIye2Oc+mKnCx2ufORZZSP9Wei/XHf2oApC6vYLTd/ZU4eccHzo+E7/wAXc/yqt9qvP+gXP/3+j/8Aiq0ruUTTmRVKLgALnO0AdB7VFQBTF3dEbW0mcrnPE0YI9wc8Gmi7vBgNpcxznBEsfOO33uD3x71epCO+FPIJDdGwc4P+c0AU/tV5/wBAuf8A7/R//FUfarz/AKBc/wD3+j/+Kq0CVBJyVyc56r9fUe4/HFNsHM01zuO5Yn5UdQuBj8z/ADoAp3c99JZ3CLpM5PlP/wAtY+Bg8/eqRby7MSKulT7Aox++j546/eqxqLsdPuFzhfKfgdOhqqJ5rmPybMBVC7WuG6Kcc7R3P6UAO+1Xn/QKn/7/AEf/AMVR9qvP+gXP/wB/o/8A4qnNbzRRRtBM8kqY3mVj+9AGDnHAPfgdaltLiO5hEkZ/3l7qe4I7GgDG8Ume78M6pbzaXMEezmy3mx/L8h569qw9x9q63X/+Rf1P/rym/wDRbVyFAHqXgOCNYdXuMEyPreoLknOALqTgeg7/AFrpK53wZLHDperSzSLHGut6iWZjgD/SpK0Zry/KK1vYxhXA2+dMVcZ77Ap45HUj8KANGiqv2e78vd9ufzcdDGuzP0xnH40+1uPNLRSJ5U6Ab0znj1B7igCeoL65W1h8wjc7MEjTOC7E4A/z2yamdlRGdjhVBJPtVSxhMkj308YEsmPLBGTHH2H1PU/X2oAlsbf7PCAzeZMwBlkPV2/w9PQVPRRQAUq/eH1pKVfvD60AZ/h3/kBWf/XMfzq/VDw7/wAgKz/65j+dX6ACo7maO3geeU4RBlj6CpKivIFubSa3cArKhQ56cigCWiobGYT2cUmCpK4ZT1VhwQfcEGpqACmlFMgkOdwBA54FOooAKKKKAKGrRu0cbNINgniwoQf3xzk1fqrqn/HvH/13j/8AQxVqgAooooAKp3h8zUbKDG4AtMwxwNowpP4nj/61XKpy7rfUhcbcxTqsLEYyrbjtP05NAFymSSxx7fMkRC7bVDHG4+g9aZfTG3s5pwATGhb5un4+1MtbSON/Pc+dcMPmmYc49B/dHsKALBVWIyoODkZHSmCYGeSLgbFDEk+v9OKcroxO1gcNtOD0PpVa/wB00sVkGZVlDGUr12DtntkkD86ALFu8UkQkhIKNyCBgH3qizKviZdxAzZED3PmCrkplWWBY1TyySHz1A2nGPxxVNlVvE6EgErZEj2O8D+tAGgzBVLHOB6DNJ5i+UZOcc9Rj+dOPAJqNf39v86sm4YZe49RQAloztFuckgnKE9cH1+nIqWoruYQxbmjeQE42rjPQ+v0pIWj+yKyZSPbx7CgCSV1jjaRt21Rk4Uk/kKVWVlDKcqRkH1FUrAPFtDTtLFMzbNyksD15PQcA1Ziba3klcbR8uBxt5x+goAbcNKJ4VSTy0+ZnOzIIGOM9up/KvL/iGQvxJ8Ji1DXcEUN9drFHjKEqqZBJwRkk49c16hqEfnWM0e5VyvVhkcc8+1eZa7HEPjDbQwKVjs/DqqAe26Y/r0rnxGqivNfnf9D18nfLUq1O1Of4xcf/AG40LWGRrg3lwmyUr5aJuzsTr19Sefyq9DNLCcxuVz1HY/UUygckAdTXQeQLYzRtBJMYVSRZ5NrJwCd57dKkQW77ty+TI7Fi6j5SSecjt+H5VVtT+7dB0WaQfU7zzUtAD5InjGWGVPRhyD+NR1NbGbeVhVnJ6oBkH6ipbm3iinZWmVB/cHzMOOnp+tADdQz9oGf+eUf/AKCKr1Z1XH259ucbVx9NoqtQAU5VBG5vuj9fam0+JfMHlr9/JK+/qP0oAa7FmLHvSUUUAQX/APx6t9V/9CFVDb6rBrM95Y3VpHHMqq4lhLsdvTGCMd+/erd//wAerfVf/QhVbVpXkurTTIZXjku5DvdOqRKMu3t2GfUitqDmpr2a1M6ijy+9sWtLv21OGWZwC1vcSW5ZRhWK4+Yfn+hqzF8pZOwPH0NOtYYbG1itbSNYoI1+VB0AouVVZ0ccA8D8f/1V67t0OJX6i1Su9W0qz1C20+71Kzt7y6z9nt5JlWSX/dUnJ/CrteV/EX4M6f4y+J2jeNp9bu7RtP8AK8y2RARJ5T7k2tn5OTzwfzqZNrZFK3U9UooPJzQOoqhBRTi3P3V/Kk3f7K/lQAlc5r++Txt4Zt44y7H7U/HoIv8A69dLu/2VrL8GTHVfiFd36oBbafFJYQnH3pfkaVh9Mqv51zYu3sndXO/L24VJTTtaL/FctvxL0iPGdsiMh9GGKbXZ3ltDdxGOZQfQ91PtXIXML287wyDDKcfX3ryxkEsixRPK5wiKWY46Adai0+6mnSbzLYwDK7cvkkEZwcdD09eoq9bafNqCvEkW+NgVctwuCOhqrb262kQt1dpNmQXb7zn1PvQBICQQQSCOhFXNyX33ysdz2Y8CT6+h9+9U6KAFdWRyjqVYdQRyKSrSTJcIIrpsMBhJu49m9R/KpEtFth518AU/gjVuZf8A7H3oArrGkNv9ruUlaLOEjQfNKfQeg9zxVO5uNR1Bw0iR2ceMBQ25lHoB0H15q1czyXEm+QjpgAdFHoKjoAztCjiiiukgQpELlgoPsFBP4kE/jWjVHSUaP7ZGTkLctt+hCkD8M4/CtCNGkkEaDLE8CgCe0k2qzMPmhUtGfQnjH5nNVquyiJNMZY8N++UM/wDeIBJx7ciqVABRUvlKoXzJQjMAQNpOB70yVGjkaNvvKcGgBtFFV5rYvIzpcTwlhhthGD78g4P0oAmkKqhZ2CqvJYnGPfPaq4m094tryTL5wU/aYUZeAeMsBt69c8evrSLZD5RNcXE6KchJGGM9s4Az+NXpFYyiNVOQAoAH6UAZPiK2NvpVw1xeTvGYmEYDBPMYqcKSMEn2q9aosdtFGqhVVAAB2GKkvLe20/T5UWGKSQQOrLsB8tcEhQfYk8ZGOx7VNHAJIUe3O4ED5e4OOnv/ADoAiqtcQy/aFubby/M27HV8gOv1Hcf1NWaZPKkMLzSHCRqWY+gHWgDN1C5+1+HNWZYyrJb3EbLnPzKjA8jrXL12OoRnT/CGoptCXU9ncSy4/gDoxx9TnmuOoA9U8Fxxy2Go+YobZr2oOufUXUmDWhcq1zOIWt3jzKd7ZHzIFIDfTOOKpeBv+PDVP+w5qP8A6VSVtyqxw8aoZBwC3oetAEdnGUkmZZBJDIwdDxwe447cCi9tRcoNsskEq/cmjxvQHGcZBHOKnRVRAqKFUdAOgpaAKWrWIvLZgrOJQvyfvWCE9cMoOCD0OQetXV+6Pl28dPSsm61W4XWIrKzsWuogwW4kU48onv6YH+enOtQAUUUUAFKv3h9aSlX7w+tAGf4d/wCQFZ/9cx/Or9UPDv8AyArP/rmP51foAKKKKAKShk1dlhQiNk3T84G4/dYep4IP4GrtUIHSGS9vrhtmZREAOflU4XAHJJLHj3xU1tf2s83kLLtnwSYXBVwPoaALNFFFABTRIhkMYdS6gErnkA9DVaS4knkMFkRwcSTkZVD6D+836Dv6VNa28dvFsj3HJ3MzHLMfUnuaAItU/wCPeP8A67x/+hirVVdU/wCPeP8A67x/+hirVABRRRQAU2WNJY2jkRXRhgqwyDTqKAM29MmnxyTfNc2hVU+zk5dewC5+9nI4PPv2q5YRyw2NvDO++VIlV29WA5NQzsJNUhhZlURr5yju7crgewGSfqKuUAMeGOQruX7rbgQSMHGM8exNVbBh9me+mAV5NzMc52oCcD8BU95Mbe3aRV3vwEX+8x4A/Okht1WyW1lw42bXxwDnrj0oAhRDePFdLK0YRgQo9RuBBz2OetVrlg3iUW6yFJJNPbaQCcYkHNakrrFC0jNgKuck1lW0iy+J9+f3g08BwDwDvB6fjQBkx6D4ghWWG78TXeowTyhhuhVWiHLY+XGRuwBnsADnnLLTw34nTzre68XXc8MkYAmACyxvuU8YAGMDHTjJ+tdVczeXH8m0vuCgHufSsnXPEmn6HdbdVkkiR1zF5cZkyoIGTtGQcn6cHmgCLRdN1XT9Nks9T1641O7lIeKeRBuUqoyPlAGMgnGB1/Gt+MxyQqVCmNlBAxxjtXPapf6xcWtje6LawXaSZnRN+1zGYxs3bsbckkHrjj8KRvvH8REMWh6O0akqpErj5R04z3+vf25AOpgTy5pFVx5Qx+7AHyHqcfXr+NGniZbKEXEgll25ZwMZz0/TFcpql74t0+8mk03SoL+3nmG44y0Slc5wGG/DHHbIOcjbg9UpddPj87MchjVW287WOBx680AF0p3+Zuymwo8ZJw2SAD7Y5/OvM55Bc/GTxNKORa2Nnb5PYkM5FemzRSeaJIm+c7U6Dhd2SfyryjwxIuoeMvGWtwfNaXWpLDC/Z/JjCMR7ZzXPW1nBef6M9fLly4XFVH/Il83OGn3J/czpamtHSKUTSRCVV42E4yTUNPk+XEf93r9a6DyBbOXTmif/AEadf30n3XGPvn1FWHubMRFYrBS3993Jx+ArLsP9VJ/12k/9DNWKALltPNI22SQiCMF2VQFBA7cepwKpTL54ZZMtv684Jqyf3ViB/FM2f+Aj/wCv/Kq0c0a3cUbNhj8+MfwgjP8AMUAMMsi301pO7ySx9JGx+8UHAPHfjmpKi1C3l+2tcQsFnXKkOPlcZzg9x9f5021uRMWjZGimUDfG3Ue4Pce9AE9OjyAz5xgYH1P+TTQCSAOppzkcKvKjv6+9ADaKKjuBugkXcFypGT7igDPvrm9uY/L02xE0Zbm4llCRjBHTGS35Y960re1VLhrmQK1wy7N4HRc52j2zVHwvHPD4atILpGSaIFHVmyRhz3+mK2E/1g+tezClCnpHfv3OBzlPV/d2CT/WN9aWRVkthubbtYDOM8Zph5OaeT/ozDtuGa0EGwdpEP6UeW/YZ+hzTKKAFKsOqkfhSU4Ow6MfzpfNfuQfqKAGnrSU8uG6oopNy/3B+ZoArahcrZ2FxduCVgiaQgd8AmnfDNbddE0RoFy89vNczvtxvlkKux/UD8K53xPImuasvhWPIgVFuNSZT0jz8sWfViOfYGuk0u/jsNas4pMJAY5FGOAp+UDH+FebjJ3ny66frY9SnH2WHSuryd/NJXS+++3o+x21Vryyt7wKZFBKkEMPTPT6VVuNatUvobK3DXdxKCwWLkKMHlj2GRiuc1PQ7CMW19N9vg1ElZfJW9bZERg4O3AYAgdev4nPIZmpa6kbfz7PyNmWYRhD9wnt7/WscVRsNB0yJmiSO4KSsCwe5d8YJbjcTwSSSP8AAVatIVt7aOBGdlRQoLtkke570AS06NHkcJGpZj0AHJohjeaVYo13OxwBXRQQQ6NZSTuweVhj6n0FAGf9jh0+Lzr4LJKw+SAH9SazppZJn3yNuOMD2HoKLiaSeZpZWLO3U0ygAoopVVmYKqlmJwAO9AFexQtNcKiks0/AA6natX5WWFPJiYFzkSOO/wDsj2qGErbG6hjIMplxI4PA+VflH9TTaALM3Gm249Xcn68VFbxhyWfiJeXP9Pqas2crfYZo02b4z5i7kDfL0br+BqtNNLMQZGzjoAAAPwHFADJGLuWPUmppv3+x0GWCBWUdeBjNQUDrx1oADwcHg0VOryKf3zBh0Kv8x/8ArfpRB5LXSKIvkZwMM3bNAEcG3zV3cKOSfSpfMWBAsLBpSfmlHYY6D/GoXd2yDgewAA/Sm0AQX/8Ax4XH/XJ/5GprZmSONlODtH4/41Df/wDHhcf9cn/kakh/1Sf7o/lQBMreZsST/WbQu/8Av4zyf9o/rgdOhkuIYY7N4pVWSSdCMdQqnjPuTUUUbTSCNF3Fu1TySQq3kOxljA/1vTn/AA9+/f1oAwdQmefwtqDSkmZbKZZd3UOIznP8/wAa5eup8TRPZ2OpZBMFzZTbXB48wRNwfTKgflXLUAer+Bv+PDVP+w5qP/pVJW/WB4G/48NU/wCw5qP/AKVSVv0ABIAJJAA6k1l69f3FvpEt1pnkzyJ8xBccJ/ERzyR6VpsqspVhlSMEe1cVe2lwmoLp8aESyPwe23PX/Pv6UAT+GZrqymury6iuGtrgKwcnILZxgDoTjqeDxXXKdyhhnn1GK5+98KWtwlmI9QvrN7VGVXt5NpYttyTnPPy4/E1N/wAI6o8kR6xrEaRkZQXbYcAAYOeQOO2O9AG2SACTwB1JpFZWGVYMPY5rm9Vtv7OieFLy8mFy4bZNKXEYUHhc+pOT9KPDSq12/UOq5UjtzzQB0tKv3h9aSlX7w+tAGf4d/wCQFZ/9cx/Or9UPDv8AyArP/rmP51foAKr3k0qNFDAoM0pO0t91AByx/wA9SKsVS0td5nuHAaQzSIJPVAx2gewHHuRnnrQBF/ZqwRNNC009wrNKBLKdryHPJHQdeMdKkntZrgKftDBlXIb+7IDwR7YLA+oNXqppcSwJO99tVFlIhI5aRTyOPXnGOelAFtmCoWkZVAGWJOAKpBpr8/Jvhs/73R5h7f3V9+p+nNOigluJGmvARGdvl2xIITGeWx1Jz05AwKuUANijSKNY40VEUYVVGABTqKKAKuqf8e8f/XeP/wBDFWqq6p/x7x/9d4//AEMVaoAKKKKACiiigCK6t47lAsmQVO5HU4ZD6g9qbYSSTWcUkuPMK4fHTcODj2yDUzMFUsxAUDJJ7CsvSvtVzb27PHNaQ7Wd0b5WkLZOPUAZ68HIHagCyW+13qBAWggYszZwGkHAA9cc57ZxRM00Mly8k2y3YKUfALKx4wB35xxjvVqGOOGJYokCIowqjsKjvHSKNZJNuBIg+Y4AywGfwzmgAunWK3/eRtMDhWCpuznjoM8VUx/xUw/68T/6MFWNRne3hSREdiZVUhRng+vtUB/5GYf9eJ/9GCgCZNkaxeZK826QlX7ZOfTtUrNMLpAsKmPBDSEjI44wPrSCERqkcJ2IDyCx5GPzqFlmhukHnzTiaQja2AI1wTngZ7Ac+tACpDP54bCxxmQuwBGTjgdByD15q3TFlUzvDwGXBAzyc+1VopHM5ZIwyySFWbJ+UAAAD9f1oAtoqooVVCqBgAdAKZMrNJEFYgBtzY7jB4/X9KasUwvWmNyxhK4EO0YB45z17frUjMgBy4GOvPSgDD8dS65D4W1WTw/am51H7KVtowwHzngtzxwOa808Ea94etdNsfDyzS6feQRKn2a/jMMrseSRu4bJJPBOc17HEGksx13SJzn1IrNu9F0fxBolvb61pVrexGJRsnjDFeOx6j6jFYTpz5+eD121/rT8T1MLjMOsO8LiIPlb5rxet7WV09JJa2XuvV6mDFwxfHCjP+FMPWsD4l+G7rwj4am1/wAJ6xPYWenIsk2mTFp4ZwGA4ZyWU89jj6Vp6dcSXTNPkCLaqqoH8WMsf1A/A1UKrlJwkrNGeKwMaVGGIpz5oSbWzTTVrprbZp6NrzJLD/VSf9dpP/QzVqJGklWNfvMQBVWw/wBVJ/12k/8AQzWhaDZFNc9Ng2p/vH/62a1PPG3jK1wQhyifIh9QOM1nX+6N7e4U/ckCsMfeVvl/mQfwq3VXUQ2yGQAlY5lZwBnK8j9CQfwoA1Vja9iLJ81xGPmXu6+v1FUNR0+8ZI7iOBlkhcMrMpAI/iUnHAI/pV2XFrGYVYGZvvupyAP7oP8AOoY5ZY23RyOh9jigCK0lElsk+1kaRThTjIHIP9aUkAEngCmWd5OUeymkjdoWwuUXJU8g9PcjPqDV6eztdS04I6CDbIokVWJ89e4IPIHTpWlKHPNRuTOXLFsqyWeoPcR+VJbRW+AXZgWc+wHAH1q1caXp9xNHLPbLKY/uBySoPrjoT71cAAAAAAHAAor16cI07cqs116nDJuV+bUzJ9qTTKxwWlGABk/Nj+tOjljMqhZASxIGM9efy6U3UZQZ2RrZjsxiUE5HfjHsD+NVYpY4YlHkSHGDkDqe/wDP+dUBdpzHFrKv9/Cj8aaOnTHtSSFfLCkEneMY/wA+1AC0U/KYxtI980m3P3WB9uhoAbRQaKAClb7x+tJWb4l1b+yNPjnWB7ieedLa3jUgbpX4UEnoM96Tdk2XTpyqTUI7sy/CflT6j4g1CMcz6iYs46iJFT+e6tC8giuNZsBJGHKLI6Z7MNuDTPDGnPpWjRWszI07O80zJnBkdizYzyeTjPtVq4ymrWn94xS/gPlrxG1Jtrr3PUxMk6rtbSy020Vr/Oxfima3nWSBsMn8WOvr+FNuZpLidppDlmP5e1R0UjA0dH8lbe8kZf3qREqT2HQ/0rNq3YhCHjkfYZl2IewOQefbtVaRGjdkdSrKcEHtQBLYQzT3cccGQ+c7v7vvVjWrw3V2VVsxRnCe/qaltz9i0drgcT3B2xnuF7msygAoopGKqpZmCqBkknAFACjk4HJqyWFopVcG4IIZgfuD0Hv61EZre1g3tcQiVjwxkGIxgk8+uAfpiq6zQs21Zo2JOMBgTn/INAEdp/rLn/rt/wCyrViq9p/rLn/rsf8A0FasUAPt5WhmEi4OOoPcHqKddxpHIPLJKOodc9QD2qKrVwuIbeUjgxYH1DEUAV1Xjcx2r+p+lG/GQg2j17mmkknJOTRQAU+3JFxGR13jH50yprVgglk25ZFyv+ycjn8KAIn++x9zSUUUAQX/APx4XH/XJ/5GpIf9Un+6P5U28R3sbnYjN+6foM9jVqC38uKNrlgg2j5M5ZvbHb8aAHx/urN5N2HkOxR/s/xH+Q/Oq9Pnk8x8hQqjhVHRRnpTKAMnxQzw6HdFFjZPJmyjDpmJ+V9Dk59OtcvXR6zEbjRNZFyzOYYpzHtYqFHlZHQ89e9c7QB6T4UuLyK01Mxxwxwf29qCtLJliM3MmGwO2cDk+9dTbzRzR7o5FkAO0svTI61h+B+dP1QEZH9t6j/6VSV0HbHagBk8scELzSNtRBkms3RYnuJn1a4XEkoxEp/gT/6//wBfvSaoGv8AUodNUkQoPNuOvI7L/n19q1gAAAAAB0AoAKKKKAM3X7Jrq3WSPmSLJx6jvWd4Ymjju3jYHfIMKfpyRXR1z2tWTWc4vrUlV3ZOP4W/woA6GlX7w+tZukXc147StGUQIFPoWz1FaS/eH1oAz/Dv/ICs/wDrmP51fqh4d/5AVn/1zH86v0AAqtpwZIpIS2RHKyrxyB1H86snODtxntnpmqei86bESVMh3eaV/wCemTv/APHs0AW2ZVUszBVAySegFU7GMzN9vnU+Y+fJU/8ALNO34kck++O1JIft8jQoT9lRsSsP+WjD+Ae3r+XrV6gAooooAKKjjmWSSSNc7oyA34jNSUAVdU/494/+u8f/AKGKtVV1T/j3j/67x/8AoYq1QAUUVDfSNDZyyLwwU7T7ngfrQBNRSRhgiiQgvgbiBwT3xXOpqPixFk8zw/BMfl2FbhUySOcgk8A55zzxxQBuagsT2Fwk7mOJo2DsOwI5pbR3+wwSXCiGQxpvUnhWIHH58VzN7qniKRFFx4dSIJIQN1yCjSBSY8+xfb7DPPSnWl3r13cTXk+hQTxiX/QGE4C+XniQ5PBIOc4zxigDqqZLDHIyNIu7bnAPTn1HemWbXD2yNdRLFMc7kVtwHPGD9MGpQylyoPzDGR6UAV7qSdbq3jh24Ykykj+EenvkioP+ZmH/AF4n/wBGCrizIbhoM/OoBIyO/wCtU/8AmZh/14n/ANGCgC1A63EKzNDyCSoIz9CD9KfBIJolkClQ3Y4z+lPooAqwnde3aBl6LyHJZeOPlPA+o609Ldkj2rczBvmyxIOS3fkdu1T0UAV1kaJwk8yPK4OxFXbnHp+YqWJCqYc7mJyxI71SvtS0bTJma+1CztJdqkmeYKcMSB1PQkHgelVJfEGg3SQRx67YbLtAYwJRukBYKNvPckAeueKANa6nW3i8xgzHOFVRks3YCkso3itUWTHmcs+OgYnJx+JrE8R6s+narZRW9rJO3CiNBksGODtGRlgAMfU1u20ongSZUkQOoIV12sPqO1AHO/FPS7rW/AGraPZbPtV5EsUIc4BcupAz+FcDaX3ivQ7OGx1TwDq7iFAnm6fKl0HI6tgYbk/zr1eP/TL0TA5t7ckR+jydC30HI+pNSeW0TSXBTzp2G1VVsZUEkDk4BGeTWM6LcueMrP5Hp4bMYU6H1etSU43bV3JNNpJ2aa7LdM8itPE+oxxO8ngXxYsPmOzSfYc7RuOcrnPH0rq9F1fSdZ0CyvtPmlnt5dz8IUO7OMHPTGMdKzPHHiS881vCnhuWOTXrxplu5VJKafCXYF29GwTtX1OasaHptro+kW2l2S7YLeMIuep9Sfcnms6Upuo43ul5df63OrMKWFjhIVFT9nOTulzN3hrq09ru3L3Sbts3p7rU5zDKvoRID/SppGS1jQQBvMlTcXbGVB7D0+tVFVnYKoJYnAA9at3U9u8ojaEMkYCK6NhiB+n6V1HhGKFexf8Adq72h6ooyYj6gdSvt27cVbikjljWSNw6N0YHg1aMcLn9zNg/3ZeP16fyqhZq0XnQSLsljlfep7bmLA/iCDQA66ht5kJuI0ZVB+Zuqjvg9RVnRLPy0S8kkd5HhCIH5KJktgnuTkZ+g9KzbqMataXVpb3Sxpt8t2AyxJ/kMZ+v0rY02NbeKO2hXEMahVHoAOK9LB03BOb66fI5K8lJqJdoopkrbYy35V1mRFdThUKryePw5qnuZLgqWJV8svse9Ok+4fw/nRKm8dcEHKn0NAHlZ+NFkPjkPhj/AGDd7jJ5H27zB/rNm/7mPuY/iz74r1ZV3bpD90fKPc1SOlWf9pf2w2h2z6p5XlC7SOPzSn93eRuA9s1yeq+J/HVhI8z+ErW10qJ/3k9xKWKqTyx2EnHPYGs+bkTc3td/I6sPhZ4mSjStdtLdbs7miuUl1HxuFjuLfSdBu4WAO2G8cMwPcMwx0rS0LX49RvJNOubO407UYo/Ma2nAyyZxuRhkMM+lTDEU525XuVVwNWmpN2ajvZp/8E2gx78j0NKAGztyD6eteWTfGbSY/javwxOj3pnLiE3u4bRKY94Gzrtx/Fn8Mc16kDgg+laRkpbHI01uJXO/EFR/YCTq3+k293DNaJjPmzhxsTHuTiuglY7yseCfXsK5zUyNQ8XWGnIzOmm/6dcNno5BWIfX7zf8BrOvJRpu9/l56HZl6f1iMlb3dddtNbfPY7q5ks9PtBHDFF9sKjdzv2HHPJrn7jZcaxalQscpilyM4Vj8vT0NS1Tn/wCQvaf9cpf/AGWvILZdZWVirKVYdQR0oVSzBR3qRZQwCTAuoGA38S/4j2pG2Ip2SBy3HAIwKAGSNubj7o4H0q5An9oeXEzBbhcLuP8AGv8AiP5VSq3aH7Pbvd5xIT5cXHfufwH86ADVZ1mudsf+piHlx/Qd6qVYnRZI/tMQAGf3iD+E+o9jVegBY0eRwiKWY9hU7W2ntG0N5IZCR0RdyqffkZ/lRMWgiFuvysyhpfU55A/Kq9AANB00oVgktZQ0vnbXJU79u3Iz3xUJ0FbdkmNrMNhBVg5YAjOOQcd6mp0UkkRzHI6H/ZOKAKtp/rLn/rt/7KtWKdCouFuriMASLL+9QDH8K/MP600AkgAZJoAKlmkfy44C2VjzgehPJpY3SFuY1lPfkjH0I/nTj9iYf8vEZ7jhh/SgCvUqW8jLvYrGnYucZ+g6mniW3hX9xGzyf35QMD6D/GoHZncs7FmPUk5NAEwitv4rvn/ZiJ/nipLc2aSbfNnKuNjfIAMH8aqUUAWJPs0bshglLKSDmQdfwFPtriIShWghjU8b9pYqfXnNRXozOZVwUk+Zcfy/DpUNABrEtyLS6jlkfIicEA4HQ+lMh/1Sf7o/lUt7m60u4j6zRwPs/wBpdp4+o7VFD/qU/wB0fyoAfUc8scMRklbag6nGaeehwMn0qpsubmWB5oY4Ujbft3b2JwQPYdfegCndxPH4X1VpA4ea3uZWVuq7lYgfgMCuarrPEkix+H9S3dTZz4H/AGzauToA9X8Df8eGqf8AYc1H/wBKpK3ZpFhheVgSqKWIHoBXOeCoZHs9VZbuaMf25qPyqEwP9Kk9VJq34mjuotFn8m9uGkbChSE+bnkfd7jIoAm8NQt9ja9kKtLdN5hYDBI7Z/X861KzdIt706XbfarieCfywHjHlnafT7tWvs8v/P8AXP5R/wDxNAFiiq/2eX/n+ufyj/8AiaPs8v8Az/XP5R//ABNAFikYBgVYAg9jUH2eX/n+ufyj/wDiaPs8v/P9c/lH/wDE0AWKhs5pppJRLaSW4STahdlPmL/eGDwPY8037PL/AM/1z+Uf/wATSrby7h/p1z19I/8A4mgCv4d/5AVn/wBcx/Or9ZHh63l/sOz/ANOuB+7HaP1/3av/AGeX/n+ufyj/APiaAHX04t7V5cndjCADJLHhQPcnFU4UbyodOgZ1EIX7TKODnqVz/ebqSOgPriq2qQ31xewWNrdXGFImmnYR4iAPygDbyxIz7Y561ftrBreBYY7662qOp2Ek9yTt5J7mgC1FGkUSxxqERRhVHQCnVX+zy/8AP9c/lH/8TR9nl/5/rn8o/wD4mgCxRVf7PL/z/XP5R/8AxNH2eX/n+ufyj/8AiaALFFV/s8v/AD/XP5R//E0fZ5f+f65/KP8A+JoAbqn/AB7x/wDXeP8A9DFWqzdUt5fs8f8Ap1x/r4+0f98f7NWvs8v/AD/XP5R//E0AWKivI2mtJoUxueNlXPqRxTPs8v8Az/XP5R//ABNH2eX/AJ/rn8o//iaAH2kyz2scy9GUH6HuPzqWs2ztnjvLuFL+4xuWXbhOCwOf4emRn6k1a+zy/wDP9c/lH/8AE0AR63tOk3Mb7T5qeUA3cv8AKB9cmrFtDHbW8VvCoWOJFjQDsoGB/Ks6/gljure4m1C6+zR53YWPCOeFZvkzjqM9s5PrV37PL/z/AFx+Uf8A8TQBYqNIytxJLuyHCjGOmM1H9nl/5/rn8o//AImj7PL/AM/1z+Uf/wATQA+UQxb7p1UFVJZ8c4FZlhJNLryyTo0btZtlCOn7wdParjRyG4+zm8ucGPdnEeDzjH3az7axa312O3ivbkIlgQuRHnHmD/ZoA1bprhVfy41K7chskn34HOfT+lQWbT28bPeybE9XYEKSxwM+gGOTUF0t098lkl5eKGXe0ixpwB1GduB26En2qebYkwt5NSn3uCdhWM8YJ5+XpwaALdwsjQSLG5jkKkKwXJU+uO9QWHyIVk3CSRix3dW4GTjtVBIbixESx300lnI6rH90PHuPA+5yvPtjpWj9nl/5/rj/AL5j/wDiaAKt9o2iXWopeXmmWs14RsWZosvjB4z2GM/n71G3hnw816t6dGsvtKEFZfKG4YII5+oH5Ve+zzf8/wBc/lH/APE1U1ef+zNPkvZru8dIyoKose45YDjK+9AD5tMtb6OVdQtxKDc+cuSQQVwFII6cAVdud7W8uyQRuUba56KccGsnQl1e4iuX1G5ljxcutvtWP5oh90nAPPX/AAq3fWMlxZT25v7gCWNkzhO4x/doAZp6w2unx3MjZAQ+WOm1DyEAOM9uTyahmk/s3TLq+uJpjMySSl3GSiqC3QHAAA/P1qxbQ/a7S2uPtk7AosiZWM7cj/d681W1mx+3QHS5L26ZbpSkwXywRCfv87eAen40ne2hUOXmXNseZfCyBW8Lx6zNGP7Q1V3uruY8tIzOxGT6AYAFdZ3rkdK0q88L+LrXwlb61JdaTLa3FxCJUXzrRY5NoBbHzhj04Brrf3kYItru4TI5dlTd+Hy8Vhhf4ajazWj9T1s8TeMlW5uaNT3ovX4W2krPVWta3lppZloD7LGSxxOwwoHVB3J9/aq1V/Im/wCf2f8A75T/AOJo8ib/AJ/Zv++U/wDia6DxyxVS5+y3N6li5dpwgkcoSNkYPCsR2Y549AaZfubGze6mu7hwCERFVMyO3CoPl6n+QNXLe2WMtIGbzZMGVyqhnOO+BXZhaHM+aS0/UwrVLe7F6kljawW0aw28axxg5IHf1JPc1MXbOc4x0HpTY1bJ/eN909h6fSm7W/56N+Qr0W23dnKklojRU5UH1qG8bhV/Guf8JeNPCviW/vdL0HxFa6he6eSt1DC2Wj5xnkcjPGRkZraugxlx5jcD0H+FJNPYZFJ9w/h/On9TiopFbYf3jduw9algjZph+8b16D/CmBfHAxTZEWRGjkUMjDDKRwRSbW/56P8AkP8ACja3/PR/yH+FAXOIggn8J619hnm3aDeyBdPJP/HpIf8AlkSedrHO0k+gqPwwkl9411u+uyTJYMtnAN33VI3nj3yv/fNddrmk2us6Vcabfb3gnXa3QEHswOOCDyK8wgl1Xwr4puZr1pbxhEiX+wDM0I4juVXHJHKsOvQ968+pCNCqqjenkvL8j38M3jaU4xS9py2d3vqndX69H636s9AOi6OdbGuHSrE6oE8sXnkL5wX034zirjks3lq2D1Y+gqDT7u21CxivrO7E1vKu5JFxgipYlbaW3sMknoP8K9C1jwXfqSptRdp4Qcn2965nwQUurK81ofM2o3ckgc9TGp2IPyXP41vX2Y7KeRpWAWJiTx6Gud8A2ckPgvSEW6mUfZVbG1e/Pce9cGNl8Mbno4WNsNOVlvFX67N/pqdJVOf/AJC9p/1yl/8AZak8ib/n9m/75T/4mqk8Ev8Aa1r/AKZN/qpP4U/2f9muEk06Kr+RN/z+zf8AfKf/ABNHkTf8/s3/AHyn/wATQBYUZYDIGTjJ7VZ1F4zMIYSDFENq46H1P4ms7yJv+f2b/vlP/iaPIm/5/Zv++U/+JoAtRSNE+5T2wR2I9DVn7OjSLcJgW2dzZP3fVT7+nrWZ5E3/AD+zf98p/wDE1LbLLGWV7udon4ddqc+4+XrQBLI7SSNIxyWJJptMuLOaJxi+mdGGUYKmGH/fNReRN/z+zf8AfKf/ABNAFgAk4AJPoKn+yyKN0xWEf7Z5/LrWTfx3CWrbL+4QsyruAQEZYAkfL71P9nl/5/Jv++U/+JoAtadPDazXTQq0snmkbn4UfKvbv+NS3LRBz5AKhhkj+7kfdrLsraZ5rhReTD98cnanHyrz92pnhlZyReTgdvlT/wCJoAnoqv5E3/P7N/3yn/xNHkTf8/s3/fKf/E0AWKKr+RN/z+zf98p/8TR5E3/P7N/3yn/xNAFinwRNM5VcAAZZj0Uepqp5E3/P5P8A98p/8TU9zDLGBbpezYXBc4T5m/757dKAJrmRXcLGu2NeFH9fxqKq/kTf8/s3/fKf/E0eRN/z+zf98p/8TQA69YrZTsOCImP6GrVyqpKQnCkBl+hAI/nWbfwTfYbj/TJv9U38Keh/2aufZ5pbGCZbycmNBG/ypx/dP3fw/CgB1Q3M6wrzgseg/wA/57VDJHcbxFDdTySnooVDgev3f8/nTILGUN50l5MZDz0Q4/8AHetAEGsQs2galLP8zfYpcA9sRtz/APW7Y9ea5iuo16GUaDqR+2TH/Q5uNqf882/2a5egD1fwN/x4ap/2HNR/9KpKs64I7i/02zZsMZvNwOvyj/DdWP4V1S3tbPVIV3TXP9uaiBCgOSftUnX0rc0yzuvP+26jIHn24jQDiIHOfx5x9B3oA0qKKKACiiigAooooAKVfvD61VmkZr6G3jfGAZZcHnb0Ufif/QTVpfvD60AZ/h3/AJAVn/1zH86urIjTGEN84AYj2PQ/oapeHf8AkBWf/XMfzqDxNL5FvC0Oftc0ggh253NuzkfTA/DrxQBb0pSbY3D7TJcN5rEDHX7o/BQB+FW6SNEjRY412ooCqPQCloAKKKKACiiigAooooAq6p/x7x/9d4//AEMVaqrqn/HvH/13j/8AQxVqgAooooApynbrMG3GZIJA47kKVwfwLEf8Cq5VW4E0d2LiOHzlMewqGAK8k5GeDn+gp6XcLWbXTExxoCZN4wUx1BHqKAG6ptaxkhdHfz1MIVOrFgeM9uM81LapJHbRRyuHkVFVmAwGIHJx2qrp9ruYXt0hN0WcqWJzGjE7Vx0BC4Bx3Bq9QAUUUUAGBnOBn1rP/wCZmH/Xif8A0YKs3sMs0arDOYWVw24DOQO1UYvO/wCEnYSqgUWZ2ENnI8wdR2/WgC/bvbzO80IBYHy2fbgnHbJ60tzcwW6hp5VQE9T/AJ9qfHGkaBI0VFHZRgVWm/s1r77NLJbfbJEB8ouPMZR3A64ouNRb2Q+7tI7mGeN2dTMoUsDyAOmPx5pLKaR3lt7jb58ONzKMKwOcMPToePUVZqpaKx1C+lIwN0cY567Vzn83I/CgRbqnrWqabo+nSX+r3lvZ2iYDyzMAoJ6D6+1XK8t8czf8JL8RbfQiom0nQohc3sbgFJLpx+6UjvtXLY6c9KyqzcErbvRf1+J35fhYYio3UdoRTlJrey6LzbaivNiTeONe1OZh4C0qJtO3F/turK0cLknJESrhyCc8ninp4v8AiVa/NceFtAvgOdtrfvGf/HxWsOAABgDgAdqWo9jJ6ubv5W/KzOl5nQj7sMNDl/vczfzkpR19LLskY+ifEbW4UNvefD3WFVHIAt545XXJyMrkdj19qH+JtvDq2pNbeF/EkmoSQQRwWc1kYyXBk+82Sqrlhz7Grl8DDKl6uQE4mA/iT1/AnPr1q/qUS6ppv2uJg15bruEitguvY5HUcYP1o9lU6T/Bf8ASx2CbvLCr5Sml87uT+5r1OZ8I6bf/AGu98Qa9Os+tXzFZgn+rt0VyRFH7AknPc10dVNKk82080AgPI7YPbLGrda04KEeVHDi8VUxVV1am/loklokl0SWiClRSxPQAAsxJwFA6knsKWKN5XCIOfU9APU1D/pbyzqB5NrsEax8FpSDkuT2B6Bc+55rqo0HVbt0OKpUULEVjLHqW278hhbxOfshkXG/jmUDqM9B/sgepq/SKQygjoRxTlBY4FeqoxirRWhx3b1e4q8KW/AU08gg8g9ac5HAXoKbTA4P4YfCXwn8PfEeq6/of257rUAUKzzBkhQtuKoAAcZA65PFd9I25y3TNC/xfSm1MYqKshttu7Gy/cP4fzqbTiXHmHqRVedl8tl3AE+9W7JVa1+ZQQ4wR7YqhGN4T8c+EvFd/f2Ph3XrTUbnT223McROU5xnkcjIxkZFdFXF+APhd4J8C6rfap4Z0j7HdXq7JHM8kmEyDtAZiAMjPrXaVMea3vbjdr6BXO+NNAbVIoNRsSI9VsNzWzH7sgI+aJ/VWroqzfE2qR6NolzfyH5kXbEo6vI3CKPUkkUqluR32N8K5qtD2au7r5+T8jgvh5qNnHqs2kW5dLS8Vry0ib/lm4bbNEfQqw/HOa67X9YstEshdXhkYuwjhiiUtJM56KoHU1xX9i6ppeq6S2k6aL7UbexuJLqdpNsazTMoMjk9s7ugOeK6fQ9Ge2EF7q11/aWrqhV7phgLk5IReijtkAE45rgpYpQpJK7d+v3/8D1PYx2HoSre1clytbR11Ta1vte17tXd07XZXksdY8RIF1lm0vTnxusbaXMsqnqssg6D/AGV/OugW3itV+ywRrHDD+7jQdFUcAflVmwt3uZ8Lwi/M7dgBUDsXdnbqxJNc0pyl8TuclSrz6JJLsv619WJVOb/kMWn/AFyl/wDZauVTn/5C9p/1yl/9lqTI0Wtp1l8vy2LYyMcgj1+lREEEgggjqDTvMk8ryvMbZ/dzx+VSyjz085fvqo8xe/HG6gCCiiigAooooAnt5FKmCY4iY5Df3G9f8aimjaKQxv1Hp0PuKbViFlnj+zyEBx/qnPb/AGT7H9KAM/UU32M3zFSqlww7FeQfzFTQt5kSPjl1BwPcU6eDzIZY5CYwysh45yRiodPmZrQR7fLaM+W4HqOOvpQA62+Rrlf4jN83t8q8VJVe0/1lz/12/wDZVqxQAUUUUAFVLfMN5JbHOxx5kXOcf3h7cnP41bqteq6qLiFS0sXO0dWXuv6ce9AF+yCm5VpBlEy7fQc1EzFmLN1JyafayI+mvcROGWUqqkdx1P8ASo6ACiiigCC//wCPC4/65P8AyNS208kQjjhj82SVAvl44YH1/wA9ar6pIEsZ16u0TBV9eK6jw3pX2KzS6uUV7soDnuo2jj0z16dM49SQCHSY7DSUka4m33hzv4zj2HbPSsc9TjpSuzO7OxyzEkn3pKAKOv8A/Iv6n/15Tf8Aotq5Cuv1/wD5F/U/+vKb/wBFtXIUAeqeBI41tNWkWNA7a3qO5gOT/pUnU10VYHgb/jw1T/sOaj/6VSVv0AFFFFABVee5ZZfIt4TNKMFvmCqgPcn+gBNSzyxwQvNKwWNFLMT2AqHTonjgMkq4mmbzJPYnoPwGB+FABDbzNKs11PvdfuxxjbGp9cdSfr+VWGZVUsxCqBkk9hS0yaNJomikXcjDDDOMigDMjV4ZBq8in99xMD/BF/B/3z1P+81aiTQlhiaM8j+MU6o/stq3ytbQEHgjyx0oAqeHf+QFZ/8AXMfzqvfmOPxPpsszABoZIoQf75IyR+AA/EVH4c0+3XQLFYGmtwsY2iKUqB1/h6fpUOr+c+paTaTSwx3Ud2JopicCaJRh1x/fIYfL+PY4AOhooooAKKKDyMUANjYsXyjKFbaCf4vf/PpTqbGVKDZnb2zTqACiiigDP1u5gggjE0nljzozuYEKBvHfpVi3vrK4Utb3lvKo7pICKbqn/HvH/wBd4/8A0MVYljjk/wBZGj46blBoAVSGAZSCD0IOap6zq+laLai71jU7PTrcuEEt1OsSFj0GWIGeDxSS2sltIbiwJC5zJbAKFk55Iz91se4B71Kslpeo8bIkhjOHjlQZQ+4P86AMf/hMvDF1o2p6hpfiLSb+Owtnnma2u0lEYCkgttJwCRXk/hc+OpvDdn4hXxgJWuYvtE1pqFsJIW5yASCDjAFaej/Z7X9kmGZYI1MuhGIlUALM7lBk9+WFcveT6t4XbUdCsbq71OGLw1Fe21vcFXMVwrsgCkAYQ7V+U55+tcs4+0rWbei6Nrd/8A97C1/qmXOpGMW5zt70Yy0jG7WqdviW2uh6BB428fWSIdR8H6fqiEAl9OvTG3P+xIKtQ/F7w3BLHBr9jrOgTykrGt7Zkq5AydrJkHHeuJ+Guoa5qFzp99LeTXWn32l/aLk3N9BMTPlcPCkYBRMl1KngEAdc0fFHSjrHjHwXaR3UlpcrJfTWtwnWKZIAUbH8Qz1U8EEjvVeyqL4Z/ek/8n+Jh9fwdRfvsMvWEpRf480fuies2Pjjwbewia28U6OyHON12iH8mIP6Vbj8TeG5ATH4h0lwOu28jP8AWvA7Dwt/xdPS5fFFppl5qGp6Tf3F3bQx7rRGjktliWNWHOFZvmIyS7dsVl6Lo+gTWfgzWfL0+81XW71oNT0nyYfLgX955iqiqGQw7VyxJz36ij/aPL8R2yl9ai+UX+qv9y9D6esb6yvo2ksby3ukU4LQyq4B98Gs/ULyz0/WZL2/uobW2isC0ksrhVUeYOpNfNtnb29jZ3OvaPrcmheJD4i/syOxs2WNUjFz5Yi8nqxMX7ws2c9fu11elWereJ/iHq1j4x1htZh0aSNYYFhEcDM0UThmQdeHBwT1zSdSstOXX10+fX8BxwmXTftFXagt04+/6RteLv3clbex1+p+Ndc8VSSWfgyM6dpfKvrdzFzIP+mEZ6/7x4rA1nwn4V0nw/e6lqsNxeTxIZ5b+adjdO46YkzkEnAAHHNM+GWpXLXV3oerXl1daxbWsNzcSC6jntJEkLBZICgGxTtPyMAQAPqes8T6HZa1o7abqHnKXdZFaJyrxMpyrD3z2NTPD3i3L3pee33f0/M3w+cKnWhClejRur8r95q+rctG35aRXSKNz4T2Gt6f4GsI/EN7c3V/KDMwnfe8KtysZY8kgYznvmug0sH7KzlixklkfntlzxXl0HjbxZ4V8631y2/4SHToMf8AEzhj2zRDGcSxr97t8y9M5NJpHxdsPIksdPsLrXr1i0kC2CFlUMScSFsbduQPf2p061OnFQk7NdHv/wAH5CxuWY3F15YinBTjNt80PhV++3LbtKzXU9TSd5LqdY9pjhXaTjOZOuPwGM/X2ryH4TM1x4RGpXDF76+up5ryRjkvL5jKfwAAAHpV9b34gavCIZbq08MWRyWW2Anu5CTklnPyKTnsDitDQNGtNB0qHTbHzTCmX3SvuZmY5Yk+5JpxvUqqdrJJ7+dun+ZFVU8HgamHdRSqTlF+7qkoqV05bO7afutrTUv0VR13VrHRNLl1HUZhFBGPqWPZVHcn0rKh1fxc0CXD/DrWPKkUOmy4iZtp6ZXOQfatJ1oQfK9/Rv8AI4sNlmJxNP2lNLlva7lGN32XM1e3W17aX3OjqvbrcWN0ZrLy2RuWhY7Rnvg4PB7isVtf1yP/AI+Ph/4pQDqVgRx+jVG3i4x8T+FPFcTeh0xjz+BNT9apd/zN/wCw8c/hhf0cX+TZsaI+6zZfKeFkldWRh935zjB7j3q/GrO4VeprjbXx3YafNu1DQ/EMNpcO8TSSacy7ZC+Y8EnBOSwx7muyvbeK6t0hZZ4omGZUJAaQEfdbHb2B575rrwsFiNYv3e55+Ow1fBWjWhZvZMSS3P24SC4LQxrhEXgMx6sfX2HQdetTUAAAADAHQCivYirRUex5L3bI4vlZo+w5H0NToxVWI9hUDKyyb1UHIwRnFO3v5f8Aqj1zgkZpgSbz3wfqKCAV3AYx1FRCVOhO09weop0ciFsBgfUd8UAP6J9TUUmWYRjvyxHYVNKNrADkYGKrGWKEnzpERmJPzHtQAlyiC3ZQuNxC8deTWpCu2JV9BWYI57gFo9kcY2lSwyW5/QVoW06zKBlRIB86A8qaAJqKKKACuR8TRrqfjXSbFnYxadE99IgPBcnZHkf99EfSuuri9D/f+JfE98WLsbtLZT/dWOMcD8WNcuLny07Xs3/X5HfgIu86lr8q+6+if4nQeHLeS8g1nUIVMiyvHbxYOcrHyxH4t+laNho9xNKDOjQxDrnqfYVY+He1vA+juiBfMtVcgdMtyf1JrTuNSsoCQ86lh2Xk15gyC/ht7DSbgQR7Awx1ySTxXL9BWvrGpJeWqxxoyr5n8XU4H/1657UP3vl2YAPn53+yDr/QfjQBJaz/AGjc6J+5z8j5+/6ke3v3qKf/AJC9p/1yl/8AZat/TgVkXzNd6zb20ORGEkWWTP8Au5VffsfTPrQBr1PbcRzv6R4/MgUqWscKqtw3kgAYjVctj6dvxqYtaQ2+Vjlk809HcDgd+B6/yoApKCxCqCSegAqby0h+aYgt2jB5/E9v50NcybSkYWFD1CDGfqepp2n2kl5cCKPA4yzHsKADzLST78DxH1ibI/I/40G3iYfubuJvZ8of14q3qdhZ2YVftUrSnnbtB4/pWdmME4Qt6bj/AIUAPkgMZHmSRgEZBVg2fyokEce0KpZ8Atu6A/SomJY5bmpr5dtwWHKyAOh9jQBM5N9Fu/5eI15H99R3HuKx4R5eqzqoIWWNZTnuw+Xj8AKuozI6ujFWU5BHY1Hdx/atTju7fKCCFjcxgcZcgKfp8p+lAEVp/rLn/rsf/QVqxVe0/wBZc/8AXY/+grVjvQAUVeTSb4vtaIIAMlmYYAqT+x3xzdQDgMBznB6fyNAGbT4IZp22wxu5/wBkVvafotuFWS4Yyk9FwVH+Na0aJGgSNFRR0CjAoA5O40HUIbUNYqqyM5kliJyjHtx2PXkfjmsp7qSFjHdWV3DIv3x5LEDnrnHI+leh0jqrqVdQynsRkUAcJDLHNGJIpFdT3U5FJNII0zjceyjua39Z0PRVSS9dZLSTHMluxVm9Bjofx96wPsd9aSW1w83zyh2iLIPMRVIwcdO47ds/QA2LDSfs+l3V/e/69oHIVuBGNp/L/Peujh/1Mf8Auj+Vee6tF9rtbmW+drqTa7/OSVU4OMLnAxnAq/ZXuoWtukdvfSBQBhZQJAB6c84/GgDX1TRpDM01rtKtyUJxt+ntWJWmNamuons7xI4PNIVZ48lcdwynlfzIqs0lrCcW8RlP9+YfyX/GgDL1yGWTw9qjJG7AWU2SBwP3bVxdd54qmluPCd9I8hJW1uEYdB/qyRx+f5VwlAHq/gb/AI8NU/7Dmo/+lUlb9YHgb/jw1T/sOaj/AOlUlb9ABRRSMyqpZmCqoySegFAFS5Zbm9jsxhljxLN+H3V/E84/2ferlVdLBa189vvXDGY8YwD90fguKtUAFFFFABSr94fWkpV+8PrQBn+Hf+QFZ/8AXMfzpmszQ+baWxZPP89JUDEAAKeST268dyfxp/h3/kBWf/XMfzp1oI5rq/ygZTIsbB16kKO3pz/OgCzc3ENsm+4lSMdtxwT7Adz7Co7LzWEk0quhkbKox5VcAAeg7n8aWGztIWDRWsKMOhCDI/Gp6ACig8DJ4FICG+6QfpQAtRW83nCRgBtVyikHrjg/rkfhTdzpO2/eQ7BI1BBGMZLe3f8AIU4mUXKIsa+SVYs2eQ2RgY/OgCWiiigCrqn/AB7x/wDXeP8A9DFWqq6p/wAe8f8A13j/APQxVqgAqOW3glcPJDG7joxUZH41JRQBj3/hbw9fafLp11pMDWcq7XgXKJjOcAKQByM8V5R4J0z7Pfax4fvVkf8Ase5e1UtISXhZt8Qz127T0PGa9vry3xesOkfF6y1BpvLstbs/slyyruC3MZJiBPQMy5Az6Vz1kozjU+T9H/wbHs5dKVfD1sHfpzxX96O/3w5vWyL1lpmm2U8txZabZWs03+tkhgVGk5z8xAyeeeaux2bXEiTLbo7R52Sso+TPBwx6Z9qmE8MY/cW65/vy/Mfy6CopZZZT+8kZvqeBXQeMK1lEJlmkktBKqlVf7zKDjIBA4BwMj2FRPo+m28yala6bZLcyIwmu4rZVkf5jwz43Ht1pafFLJE26KRkPsaAKJ0zTTqI1I6dZm+AwLryF83GMY343dPeoVRE8TGRERHe0JdlUAsQygEnucAD6AVsXuGeOZQAJUDHH97of1FZsCK/iZfMJEa2TM5HpvH/6qALGm6bpujwM2n6fZ2ckzBytvbrGP94gAZPpRPKUG8pJISedoyfrUsrmSRnPGT0HYelVbyOU7JoOZYjkLnAcHqv+HuBQAtnNbyhvs5wdxLqVKsD7g8iq1jbWkOqXDWltFCFjVJPLQKCxJbt1OCPzFVtYu9kIujCLXytp8+4+QqScYHqPXtWbF408NWdui3GqxSXkp8x7e3zPIrNztwmeR0/ConUhDWTSOrDYTE4m8KEJS9E3+R1dV9a1Gz0rS31HUJhDbW8RZ3P1PA9T2ArDh1nxVqZ/4kPgTVJIyfln1B1tEPvhvmxWto3gfWtV1q01XxxJp7wWR32ul2ZZ4vM7PKWA3kdhjFYuvzaU1d+jt9/+R6EMpVCXPjZqMVulKLm/JRTbTe15WS38iDwB4cu/EV+vi7xTakWwcSaLps45t1x/rnA4Lt1AOcV6dRRWtKmqa7vq+5xY7GyxdRO3LFaRitorsvzb3bu3qwpdx9TSVSS8uZcyW9kJbfPyv5wVnHqFIxj0yRWhxHLfEy1mvvAt7HDhpIZprpQ3IPlM7/nkDFN0y6TUNMtruPOJ4UlTPowzj9as+ILye20e8urq1EMAt79dxlDAEhtobjAJIx1PesnwpGIPDOmRJwFtY8Y/3RXbgvilp2/UrEa4WOu0n66pf5I0qKc3I3j8frTQCTgV6B5oqjJoY54HQdKViANq9O59abQA7K5zt/DNRlDcM0cagHu+OE/+vRI21C3oKu2sfl26J3A5+tAEcVoqwqksskrAffJwT+VPWKK3TbHGNzHvyWPuakd9vAG5j0AoRSDuY5Y/p7UAMK7YeTubjJ9TxSyQxuwbBDDPKnB/SnS/6s/Ufzp1AEQjYSKyzPsA5Q85Prk81CJpI7xoWbK8Mueu0/8A181bqhe8anbM3C7GGffI4oAvjrXCr4L1+0+1/wBl+L3tRcXMtyVNlG43Oc4OQTXdVHdMFtpWLbQEPPpxUVKcai5Zep0YfFVMO24W101Sf5p/fucf8N7/AFhfCjaVf33n/YLl7VGRAmY1AK9PY1vVzfgFmez1VjhlOqz7GH3WX5QMevTH4V0qLucL614878z23e2x6GKjGNVqKtt+Q6XjavTCjP481Q04GcfbpOWkyI/9iPPA/HGc/wCApdXYyw/Z1JV7l9gweQOrH8ADUltpUMoLXU0syJyzStwPYKML+GKk5xsP2q+uxHaMEhjfDuOS+OoHYD1PtT3FvZajYw2mN6RS5kHT+Hpn+fWrTyKsK29vGIYF6KOp+tZ8/wDyF7T/AK5S/wDstAF6NGllVAfmY9T/ADpZ3Dykr9wcJ9O1EDBZAT0IKn6EYNNkUpIyN1UkGgBK0NJvhZQXH7slmA2n3rPHJxTpOMIDkL/PvQASySSyNJIxZ2OST3ptFVdWtZL3TJrSG6ktJZChWaMZZNrqx/MAr9DQBaq5Y33kRtFNCJ4SMbDgY/HFciiIIyt34ru45sMm7ycBtp2khQD6Yz7Zq1pCW99fxWNv4yYzTpLHGAuWdhv3FSMYwFPPqnucgHW6hZxOyXa7bW3kQEg/eB9AKyZ9Q+za3HDZoYobqBgykA7vLIOST678YrQkWO8mNuNR86a3gH+tGGlA43A9OTWPfoUntZfKJdJgvA5AYbT+GcH8KALcEdq091Is4ijM2Qm0sy/KvH+TXQ6NHpcmDAm6ZBz5g5+uOn5Vg6Xpd7cPclYSi+d1f5f4Vq5Lo2rR2sk1vftZyKpJWIBmcAZxnt0/WgDorhJi6yRSkKo+aPaCH59ex/xpyRqX85owJMbeecCqmgal/auni68h4TuKlW9u4OBkf/Xqzb3Ec8k0cYkzC+xiyFQTjPBPX6igCaiiigAqO5mit4GmmYKijJNLPNFBEZZpFjQdWY1kQRyazcC6uEK2MZ/cxkf6w+p9v/1euQCMtJPbz6xexqYYkL20EjYHHQn6kfr9K5PV7G61h4LqbUbqzuFnE0hgfO5cMBFkgfKN2eAORXXeMYJJLK3nUsYrebfKgAwRggMf90kGuenmjgTfK2ATgcZJPoB3NAGbbWeoWNtNJca7e3wWJsLKqKDw3XaPcfkKbZ6dqMEcD3Pia/mjjVDIGWOMPhQOSoGMkZP1NWLyK6u7G4kkMltGIm2or4Y8Hlj/AEFWILG1VUabddvtGPNbcF+maAH6cq3k9xIW8yGGMeUTwPMB5b36/TrVhvLC7VG5s/e/oKazswxwFHRQMAUlAEeuSRnwzrUYUgPZTMq/3SEbofpmuGrsNeJXQdSI6/Y5v/RbVx2KAPWPAv8Ax46p/wBhvUf/AEqkrfBBGQQR6iuW8GWFjJa6tNLawmRtb1EO+3BYfapOCe4+tbslm9uRJpwihO7LxEYjcfh90+4H1oAuVTus3V0LPH7lAHnJ/i/up+OMn2HvUOoW2sXQH2e+XTtqnGxFl3n33LwPp61LZSOkvlzWUlvJO5JJdWDsByeD6Dj2FAF2iqi6jbFhu81EJIWRoyEbBwcN/LOM9s1YhmhmBMMiSAHB2nODQA+iiigApV+8PrSUjyJChlkbai8k0AZOmTmDw3Z+X808keyFeuW5/QdT7CtG0to7aMqmWZuXdiSzn1JNZXhGN5NOgvZUK74VSFWA3KgJJ+mSc49hnpW3QAUUUUAQzQ+dKvmKDEqn5T3P/wCr+dSsVjRmbCqAST0A9TS0UANUxyBJVKuMZRgcjB9DTUk3swVSVDbS2e9VrGONdQvTCQqAopReFD4yTj1IZf0q7QBDN9pMmIvLCEclicg+36UxoZo7YrFK8kxYEsx5PPT2HarDlgpKruPYZxmo4mmUqkqFjjJdcbevT1oAh1Y7bVGYgATRkn/gQq3VLVo42tI0Zcr58fB/3xV2gAooooAK80+MVokfwj1VxGQ9pcvcK0YwVk80lHyPQsvP1r0uvOfjBOLf4U69YtIscoSQSIT95WZnBGeueDx3yKwxP8Gfo/yPUyNtZlh7fzw/9KRNp8jy6fbSyHc7wozH1JUE1PXJt448K6XptpHc61bPMIEXyoD5r52jjC5x+NFr4q1fVyy+G/BWuX4x8s9xGLaE/wDAnpfWaSsubX73+Bf9i46o3ONJqN937sfvlZfidZRXMReF/i1ql5582saN4etiP9QiC6ZfzX/2aumsvhrYy2LQ+I9Z1bW5nOWf7VJbJj0CRsBiiNaUvhg/np/wfwCrltCgk62Ii32heTX4KH3TKmseIdB0uyVdT1iytZI3PySTANtI9OvUH865yDxjb3+pbvDekavrzNAUY2lqyoAHBHzvgY9/pXoeieAfBmjMr6f4b05JB0kki81/rufJrUVVXxGqKoVRYnAAwB+8FFq8t2l6a/i/8g9pllL4ITqP+81Ff+Axu/8AydHnMVn8T9Sx9n0HRtFjP8V9eGZwP92PjP41fj+HOvX0f/E+8eagCf8AllpcCWyD23HLH9K9Ioo+rp/FJv5/5WB5xOH8ClCn6Ru/vnzP7meSXvw08P6fcibWVufEBBEkkt7dyu6oD3UHaM4xyCOvSvQPDMXhuzhW30SxsrAcgRxQrGT69Ov5mtGy+a7vnJU/vVTA7AIOv51WvtC0+5WQpH9nldSBJHxtPXdt6E5/r61cKNODvGKRzYnM8Zio8tarKS7Nu3yWyNQ0lc451zS8MzG5txIWOPmGDxtP8QA6+3qRWhp+uWN2VXeYXbOA/Q8469K1OE06KKrXk0nmJa25/fPhmb/nmmeWP8h7/SgCO+d7gSWUCOScJLJ0VFPXnOd23pj1GauKqqoVRhVGAPQUy3hjt4hHEu1ck8nJJ7kk9T71JQBzPjMFvh54hUJvzbXXGM5GWzWNojwSaNZNayLJB9nQRupyCoUY5rtrFVa3kVlDKZpQQRwRvavObC1h8L+Ibrwzu8q0fddaarNkCIn5kBPPytkfQiurCVFGbi+v6XNZw9rhmlvB39U7L8P1fY3VOD0znqPWnuPL+Ud+ppqsoB2sC2ccdqVMMNjfgfQ16Z5QymOxBCqAWPTPah3A4XluwBpY0Cj1Y9T60AEcQMilvmbPX0+laLbtvygZ7ZqpbDMo9uauUANRdpLE5Y9TinUUUANl/wBWfqP506my/wCrP1H86dQAVFcwrcQmNsjuCOoPrUtFAGcL9bOJ1vmEflD5nJwuPXPauT1LUtV8VyLaaPutdILET6gesijtEO5P97oO2a6LxPptnq1pdadqMbtBcQBU2gnDZJzx3BxXOWt54ssba3spPD1tePGgTzlvRCHxxnYU4+g4rmxDqXUYLe9z08FGmqcqmnOmrXaXzt1/Ts+nQ2Nrb2NnFZ2kSxQQqEjRegAq1HIkIaaRUZFHO84GP/1ZrA0vWrubX5NF1HTUsrhbUXKFLnzQy7tuPujB/OtXVP8Aj2ht9wUTSBW9SD1H5D9a8tK2lrfgXXhUhP8AeO7et7p3+abTJILb7ZKb+EHYqlYoWH7xVOMsfXOPy61auP3dvFD6jzHHuen6fzqFWZWDKSCOhFLLI8shkkYsx6k0GI2qlwp/tWzbsY5R/wCg1bqtO7NqNqhPyrHIQMd/loAs1JOQzKw7oM/UDH9KrXMy28LSsC2OAo6sT0A9zTrVZl021W4YPMq7XYd2GCf1NAEsfygue3C/Wm0+XghOm0YP170ygAooHWnMy5ykYX8c/wA6AIUsYJ5iq2cMkkh5/dAlvr+X6VZa3sLFTDZ2dqk7ACeeONQzYzhQQOg3N+Z9aR9QkggZPMSJWHIRAGb24GTUdtZahqQ22kbQR8ZmYD9M8fz+lAEsU5SF4dsZWTA3MuSvPY/gPyqyp0+C0W8upY42t7qIxsX4IyMD+dTr4XMlzHcXGozKFxugh4jP49TV+48O6LPCYZLFWjJBKl2PP50AWkuIIHuWmniiHndXcD+BfWkGqacV3LeRMOxU5z+VVNO0XTITcKtqDiXALMScbV71ej0+xjYslnAGPVvLBJ/HrQBy2k6/MniK4t57ie8hbftIXhQGym0cDoSD7it59Xbgw6bezL/EQnT8s5qe3sWi1GW884fOMbAuOO1T3d1bWqB7q4ihU8AyOFz+dAFE3uqyLui0nYCPl82UAj6j+nFJE2vyRjzEsoX9QT/9etUcjI6UUAZUWlSTSifVZxdOCdsYGI1/Dv8ApWqAAAAAAOgFFVb/AFCzsYfNuJgMnCqvLOfQDuaAMzxhcsLRNPjyHus7nBHyIuMnHckkD8a563s4In84hmcAgO7FmP0J6fhViWae+vXurgBXfhV/55oOi579yfcmmyMGb5Rhew9BQBBqTFrG49BC+B6cGnw/6pP90fyqO/8A+PC4/wCuT/yNSQ/6pP8AdH8qAH0UUUAUdf8A+Rf1P/rym/8ARbVyFdfr/wDyL+p/9eU3/otq5CgD0CzkgTwxqqXKStFL4hvlPlbSwxeSMDhuD93p3qwPB+nX1t59presiOUB4mS7bapGe38wfTHFZegW2n6kdXt5NWa3uYNe1EiN3wFJuHyVBODwR+tdBbaVapYJYz640kEYCoqyquAOnfB/KgDNk8I6XDFGt14n1oSRgFiuoMm8+pQde/HPH0Fa8eoaMumx28KS3yQqBGvll3cjjOW79eTirUNrokMgkX7KzgYBeUN/M1cS5s0UKlxbKB0AkUCgCjBqkzxKbbSbkIBgBhtx7YAI/KoLnU2gvVuJrOS3YoVYyZ2uMjHIHUc44PU9K1vtdr/z9Qf9/B/jSPc2bqVe4tmU8EGRSDQA2zvEuHMZUI+3coDBg6/3lI6jPHtVmuTab7BrZWxuIZoIx8sbSjAZhlgD+C9/4uhwTWpB4j0/cI7yRbObAJWRwR+f9aANiql3uuLuGzCnYGWaR84ACtwv1JH5CpPtlnt3fbLbbjOfNXGPzqnZalZTapI0NxFJC0ajzhINgZSeM9/vds9KAJPDv/ICs/8Arn/Wr9ZXh26tRodnm6gH7v8A56D1q/8Aa7T/AJ+oP+/g/wAaAJqKh+12n/P1B/38H+NH2u0/5+oP+/g/xoAmoqH7Xaf8/UH/AH8H+NH2u0/5+oP+/g/xoAis3EdzPbyKVlaRpFJHEinGCD3wMD8PTFWXVyyFZNoB+Ybc7h6e1Z2tXdotiZluYjNGwaHa6k784AxnvnB9s1ba+sljMj3luqgZJMoAFAFiisWTxFZyu0WnlLtwQCd4VRn1J/8ArVFbTXF5PMLvVobYxNjyoJF5B5Vs5z/PpQBqasQttGWIUedH14/jFOl1CxjG5ryHH+y+4/kKw73S9Gjh3Pd+ez3EbMZLgHncM9MfrWpb2+iW5YxLZAsfmJdWJ/M0ARvr1iYw1ss11k9Ikzx6nPb9fal+2atNJtg01Yk258yZ+AfpwT/nmrf22wiMcYurZNxIRRIoycE/yBp5u7XH/H1B/wB/B/jQBQNlq1wq/adTEOGyVt0xkemeD/OsnX/DlnfXVtZz2/8AaCXAb7St025DGMfeAweSRg+oFbmlXNounQH7XAWdA7Eygks3J/UmoJ9Q09NXWW5vraARRFYy0oAk3EE85xxgcdeppNJqzKhOUJKUXZog0bwto2lyxvZ6PpdksWdiWtsq5bpuZsZJxn863iSetQfa7T/n6g/7+L/jR9rtP+fqD/v4P8aIxUVZIqrVqVZc1STb7vUmoqH7Xaf8/UH/AH8H+NVdT1BobdWsfstzKXClWuFUKvduvNMzNCs//mZh/wBeJ/8ARgq19rtf+fqD/v6tZ5urX/hJQftUGPsR/wCWg/56CgDWqtqM7QwKsfEsziKMkcBj3/AZP4U/7Xaf8/UH/fwf41R1W8tlksttzbh/tK7WaUBRkEEH6gkD3xQBes7ZLWARI0j8ks8jbnY+pPepqh+12n/P1B/38H+NH2u0/wCfqD/v4P8AGgCasvVdPtJpYT5AEssgQlRjcvJJP0GSD2OOxNXvtdp/z9Qf9/B/jVOG5tJtRluWuoCsI8mPMg68Fz157D8D70AQJLc6OwjuSZ7EnCSgfNH7H2/yPSrmmOtw1xeK+9JJNkZ7bU+Xj/gW4/r3qZrmzZSrXFuykYIMikEVjybdKczadcwy2xOZLcygke68/wCffsAb9FZttruj3CBl1G2Qn+GSVVIPpyaufa7T/n6g/wC/g/xoAbp/+pf/AK7y/wDoxq5b4gaXNrVsb2xh3Xehy+fb/L807bQXjB/ulTj3bHpW5Hqllb2zj7RC8rTTeXGrglzvb06D37VPazQwWjiS9tzKxeRisgADEk4HPai7WqdjSjPkmpWv5d/L5nG6VfQ6pYwalYyK8NwgYbgQR6g+4PBHtVny8kb2L47HpXPfDTYngnT/AJwS3mOxLZJJkYk10e9P76/nXtQlzxUu5x4uiqFedJO/K2vuZKVDLvAAYcNx+tMoSVVbIdfzodk+8GXaenPSrOcsWY+834VYqhHMI2yHX3GauJNG67ldfzoAc3Y9hnNJENqDvnmk3rv++m3Hr3pQ64GXTP1oAJf9WfqP500ygTFG49DRK6eWfnXqO/vTi8efvL+dADqKbvT++v50b0/vr+dADqjuI45YWSQZGPyp29P76/nRvT++v50AcRdKn/CdaDdltst3Zz2556gYcH8K2bcCe6mu3Ys4do4wekag4wPc45P0rF8SNDY63oOoSsB9kuZrchTnIkibb+oWtawaGGJ2kuIBJLIZGAkGFJ7de1eTibe1ep607uhSduj+fvPf+trF6iovtNv/AM/EP/fYo+02/wDz8Q/99isDElrNa6WbVoVtUMxEMp3fdQ428Bu/4ZpJL22vgIYpR5DEeZJvCqy9wOcnPHTsetPe5t49Ysyk8ICxSYAcYH3eKAJoYJXmWe6dS652Rp9xM9/c+/6VotiOONfvSctgc4J9fwAqJprVZhHBdQs7YA+cfKT2+vvXU2P9n2kCxx3FtuwNzeYMsfXrQBy/lTEZ8qQ++00ixuzhFRix7Ac11l1qmnWsfmT31ui9v3gJP0FZn9qTaif9BlgtYD/y3lddxHsM/wCfWgCu9ja2loZNQuPLmZfkiB5B7cVSsdM1K+w3l/ZYiAdz9fp/nj3resbXS7aTzmuoZ7jkmWSUE5Ppzx/Or/2u1/5+oP8Av4P8aAKGm6DY2eHZTcS8ZeTnkd8f45rVHAAAwB0ArNvb5JJVtbS8gR+DJJ5i4Qf4mrH2yzgt901/b7UXLO0ijp3NAFiR0jjaSRgiKMsx6AVHaSyTRmR4WiUn5Fb7xX1I7Z9PTGeeKpRzwXkq3FxPCkKNuhhMi5J7O3PX0Hbr16Xftdp/z9Qf9/B/jQAlr/rLn/rt/wCyLTrueO1tZbmXPlxIXbAycAZ6VXtbu18y5/0qD/Xf89B/dWsvxZqtuLUafDcxeZcDLsJR8sYIz+f3ce5oAqz67qk6MsaQWqvyGGWkQenPGff9O9ZroC8byq9yA6eYJZCzMgOSMt6+nTmk+02//PxD/wB9ikNxbkHbcwg9jvHFAG7D4pE6GSLTZNuSuHmUMCDgggZx+dR/8JFqO0/6FZg9szN/hXOaPcWv9mW+JoVBQY+cfMOzH3I5/Grf2m3/AOfiH/vsUAX7nU7+7VkuJFjiYYMcBK/+PdT+n0qrHbRrl4UQcfNwAQP8Ki+02/8Az8Q/99inQ3FsZAPtMIzx98UATHCKQGDM3XHYUyovtNv/AM/EP/fYo+02/wDz8Q/99igBt/8A8eFx/wBcn/kakh/1Sf7o/lVa/uLf7Bcf6RD/AKp/4x6GpIbm38pP9Ih+6P4x6UAWKKi+02//AD8Q/wDfYo+02/8Az8Q/99igCtr/APyL+p/9eU3/AKLauQrq9euLc6BqQFxET9jm/jH/ADzauUoA9T8EW8D2WqM8MTN/buonJQE5+1SDNb/kQf8APGP/AL4FYXgORXstXVTkpruoq3sftLn+RFdDQBH5EH/PGP8A74FHkQf88Y/++BUlFAHP6p4dubrV5r+11aSzV7TyUiSIEI/Pz88HqOMdqpzeG9e2wrD4mYN8wmka2TJ+RwMDpwzKf+A+9dZRQBx9xp99ZamWXVmYCQTPFIkaLKny8bj0xtYE+4qlYeF9WnBRdeujZO0kjCa2TBLEldhOWwMjngfKK67Xkjk01vMjWTEke0MBgMXC55+vPqMinPFdWal7eV7mJRkwynLY/wBluufY5+tAGXH4Zht4rb7Obd5Io9khngDiRuPnwfunOenrSyaNrczDGtwQjPAjsl4H41vQyJNEssbBkcBlI7g09fvD60AcjoGg3raHaMNeuFJi6C3jxWlPYawLMRxXNmZlA/eiEAtj1BBHNXPDv/ICs/8ArmP51foAxI5NSt7dBdaPFcSYwWhKjJ9cc07+1tPTYLixmgZjgB4R1/rWzR2x2oAz4r7R5WCrLbBicBXXaT9AQM1bWO1YEqkBA6kAHFMmsrFwXltYG45JjHSsd9OsJiZYNKvirqMFZFVXHbhmyo/AUAReIHtrjULO1t4YrpkZ3eBY1ZXOAAD9NxPt7VbtdFEyIdVWKUoqhIkXCoR1PHUn+lW9M0+O1dpzHGsrjbhMkIvoCeT7nv8AhV+gDNkso7O4a5tbWNoWUCaFIxnIwAy/QDp3+tLLBbziG/sYYZXHHygDemeV57jrz0II4ya0aqW/7vUbmDACuFnGPU/K3/oIP4mgCtd/Z57fb9mVHjuY1dGQZB3KR046EGtDyIP+eMf/AHwKzJ/3ss9yMBftEMK4P3tj8t+bEfhWvQBQuoYXvrSERwgAtMw2DJCjA/VgfwxVvyIf+eMf/fIqvC32jUnlVsxQKYhgcFyQW59sKPrmrlAGVeLa6REbl44lsQSZRsyY2ZvvD1GTjA/CoodUs7qKRo9G1AqvA82wKBj2AzyfrjHNaOq2kV9ps9pO5jjkTlwcFCOQ2fYgH8KreF72bUfD9neXDK00kfzsvRiCQWH1xn8aAH6Pp/2TS7e2uvJmmjTDOsQUdegHoOn4Vb8iD/njH/3wKkooAj8iD/njH/3wKPIg/wCeMf8A3wKkooAj8iD/AJ4x/wDfArPMEP8Awko/cx/8eR/hH/PQVqVnn/kZR/14n/0YKALnkQ/88Y/++BVBFtL7UUaFYZILXduZVBUy9MZ9VG786kDtqLARmaOzAyXxsMx9B32478ZyMHrV5FVEVEUKqgAADAA9KAGeRB/zxj/74FHkQf8APGP/AL4FSUUAVb8Q29nLMsMIZV+XKjG48DP4kUtpY21tbRwLDGdg5JUcnufxOTTb/c89pAqBg8u9zn7qoM59/m2j8T6VboAj8iD/AJ4x/wDfAo8iD/njH/3wKgl1CGK5eKRZAkYG+bGUViM7SeoOMHpjkc0st4fPjhtYluGdDIT5gCqucA55zk/yNADbjStNuM+dYW7E9SEAJ/Ec1m3mj6XDmK0t1+1y5VQrkbSR95sc4A5568DvWpPJeELDFbhZGHM24FE/DqT7Yx71Ja20Vuv7tcucb5G5Zz6k9TQBhWmhSRzNdWN8Yv3ro0UsYkVlDtxzyKlvbPW/NR7drIx9Hi8tcMO55GR+da2n/wCpf/rvL/6MalvmZbY7SVJdFyOoywH9aAPHtJk8QeF9Oj0ifw218lqWVpradTn5ieAcH8P1q/8A8JlpEQxqFrf2EmMsk1q3y/ioIrpbxt13M3rI386qwTLcLINuNjlGBweR/kGuiGKqRST1/P8Ar5G1adKtKU5U0m+10r97a/d91iDTta0XUYhJZahazKfRxWnGEb5cLg9D6Gse80PRbwlrnSbKVj1LQrk/jiqY8L2EIP8AZtzf6b7W9wdv/fLZH5Vusarar/hjFYajJpczWnVX1+XQ6IooOCoz9KltdolxtHI9K56PSvElrai4tfES36htrpe243Ke3zp6/TtSSX/ivSZY21PQbe8TbuJ0+5DSKPdHC/kM1t9apa67ELAznbkkm352++9l+J1Uqrsx8q5IGTT9q/3R+VYWj+KNE1qZrOG4aK6T/WW1wpilXB/utyfqK3q6DknCUHaSI5VXyz8o6jt708qv90flTZuYyPp/OgQxjqC3+8S386CRC8IO3KE+g5NOXYwyoBH0p3bHao3+WRXHc7W9/SgB+1f7o/Kjav8AdH5UtHSgDjPiBbiS+0aePAEOp24fjqS2Mf8AfJNbPkw/88o/++RWR4p3yX/hm3YjL6hJPJ77Y3I/XFaN1qFlbHbNcxq+M7AcsfwHNeXi3epv0+49RK2Hp6Wvd+utv0ZN5MP/ADyj/wC+RVSW3S5vjbssa2yxZmUIMvu4Az26H86ik1Od2ZLWxckD7052f+O8t+lSWyX4lnlZk3yAKDs2gADsDk9+4rmMy6IrZDuNvFsHRSAABWbdS2kerW7BI22xS52qML93v0FXJbFS5WSZ5FzxnqfxOSPwxUMkUaaxaFUGfKk5PJ/h70AaWiSW6XombT3mVFJ/dRb8HseK2y99eOn2PT0tYg/zPOgBYY9CMj/PSneFoSsEsx/jYKPoP/11s0AZlpodjFskuIUubgKA8si53H1x0H9Kv+RD/wA8Y/8AvkVJRQBH5EH/ADxj/wC+RVWGCG8hLyQqqbz5ez5SV6DpVudWeF0RtrMMZ9KciqiKijCqMAe1AFYW9laQM3kxqg+ZiV3E/wBSaggtY7uU3FxAnkBgbeJo8EYz87DHfOQD0wD1qbUm3olmozJOcf7qAjc34ZGPcirdAEfkQf8APGP/AL4FHkQf88Y/++BUlFAFS1gg8y5/cxf67+4P7q1y2tRxSa7ebooyIyka/KMAbA382Ndba/6y5/67f+yLXHXBZtRv2bJzdybT6rnigCH7PB/zxi/74FL5EH/PGL/vgVJVTU8mGOL5gksqxyFeoU+/bJwPxoATTYYTYxMIo9rAsvyjgEkgfkRVjyYf+eUf/fIp4AUBVAAHAA7UtAEfkw/88o/++RR5MP8Azyj/AO+RUlLGoZwDwM8/SgBLiCASnbFH0BPyjrgZ/Wo/Jh/55R/98ipWbcxb1NJQBVv4YfsFx+6j/wBU/wDCPQ1JDDD5Sfuo/uj+EelJf/8AHhcf9cn/AJGpIf8AVJ/uj+VACeTD/wA8o/8AvkUeTD/zyj/75FSUUAZ2vwxf2BqX7qP/AI85v4R/zzauTrr9f/5F/U/+vKb/ANFtXIUAej+BJmgudUgGWS513U2OUxtZZ35z3GBj2JFdfXN+A4o/J1ecYaU61qCE5ztH2qQ49vWty/vrOwi828uEhU9Nx5b6Acn8KALFFV9PvbW/thcWcwljPGcEEH0IOCD9RUlxNHBH5khIGQAAMkk9AB3NAElI7LGjSOwVFGWYnAAqpLJfzRFbe3FuzDAkmYEp77RnJ9iakazhkkWSfdM4xjexKg46henvQBEnnXk8UrxmK2jO9Ffh3bsSOw74POcdMVdoooAqW6rDqM8aoEEqrKuBgEjhvx6fnVxfvD61n6WpmlnvpTl3do4x/wA8kU42/iQWP1A7CtBfvD60AZ/h3/kBWf8A1zH86v1Q8O/8gKz/AOuY/nV+gAooooAZNNHbxNNK21EGSah0uH7Pp0EJUqVQZBPIPU0yLF9P5zLm2jI8nJ++4Jy/0Hb8/SrlABRRRQADrVHTy1xBPeRsFlnLKhI+6FJVR+YJ/Gp76YwwEoN0rnZEv95j0/DufYGnWcC21pFbr0jULn1Pc/ieaAM8Mv8AZNvGF2PFNFHIn91gwz/j+NXr+Vo4CsXM0h2RD/aPf6Dr+FUdfX7OiXqL8vnRC4A7qGGGx6j+X0FWblVk1SzZFDOiuxbqFQgD8ycY9s+9AFizt47W1htYV2xxIEUewGKxYdS1rUZ55dJh002MchiSS4kfdKR1YbQRtzxW8fuk5wPX0rJ8IAL4etgF2jMnGMf8tGoAqz2fiLUU+x6lJpcNlIf35tDJ5jJ3T5uOe59M1vRokcaxxqERQFVQMAAdBTqKACiiigAooqnqEs++K0tZFimm3HzGXdsVcZIHQnkdaAJLm4dZBb28YknI3cnCoP7zf4DrWVJYtceJVW8uDNH9hbMarsU5kHBweRjsa2YYY4d/lg5dizEnJJ9zVP8A5mYf9eJ/9GCgDQooooAKKKKAIbm3WcoxeWN4ySrRtgjPX2I9iDUJtb0yHOpv5R/hEKhsf73r+FXKKAI7aGO3i8uJSFySckkknqST1NVNOit1v7+a3QBXdQzDoXAwwH49ffPvUuoySiJbe3YLPOSiMedgxy2O+B+uKnhjjhhSGJdqIMKPagB9V7tLjiW2k+dQf3TcrJ7ex96sUUAU9HmSey86P7ryykZ6j943FP1IgWv/AG1jx7/OtU9PYWlxIrNtguJpSuTwsgkbI56ZHb1B9ataxGz6dMYwpljUyR7um5eR/KgDkJ1WXzEYZV8gj1Bplv5XkgwlSh5BBzn3qG6Wa6s0a0u2tGba4k8sP8vUgg8cipbUQiEeQwaMksCGyDk5PNAEtFFSxLCiG5unEduhAYk43H+6PegCzpMggaSeYgQY2tkZyc8fl1/Csy+muF1OW38sOyjc7sSA2SMEH0xk1HeM9xb3KXshgtQ58sI+3bHgdSPU59zmtHTLK41W2tVige1tIjtaaQYaSIDhVXr+JxigDBvNNs9eRIn0ybUpE5SWNNjL7q5Ix+BxTbXRvG+k3YGmi6v7InmC/ePK/wC64bP55/rXpVjZ29jAsFtGERQB1yTj1Pep6qE5Qu49TRVZWUXrFa2ex5rL4pjjn/s/VNPvtNvM8CSIlHx1KsODWnp2s2F1KY4r+CRu67xuH1FdbqscclkwkjRxleGUH+IVl6l4N8L6hcm5udEtPPyP3sa+W4x7riuyOM7rp+Jk6VKXS2vTa3o/8yLtSMAylWGQetMbwXp8Nu66df6pZTFNscgu3kVD67GOG/GsC58N/EezlVrHxPpWpxBiTHd2vkMw7DcoatIYuEmk1a/3C+pxak4zWnR3Tfpa6082vK5vqxRgjnIP3W9fY+9ZfifxFp+g26NdM8k87eXbW8Q3STyHoigdSaq6nrGuaTYmTWPCd+yjAaSykSdM+uAQ3X2zVjwF4fOoal/wmeuW2btgU0uKX71rCepZegkY5z3A49qVXFRULw1b/D1/rX8TahgOSbliGuWPZp83kmrr1fRa72T5VNL8Ra7qEF1rps9PisHljFhCzPKjMo/1jggd+g610VvYWcIKRQiON+iKNq9sjjqRx156HvWv4mDW3iFRG22O8gDSJj7zoThvwGB+PtVF1ZjtT7zHjJ43Acfn0/GvPcnJ3k7v+uw6tX2j0Vktkr2Wt7K7b69xyqqjCqFHoBilpAQwDDkEZFLSMh8g+RG9R/I1USF7jX7GFOrRyD6fd5q7Lj7PBjrhs/nV3QLcrq1tcsOXilVfoNuaAOkgiSGFIoxhVGBT6p6jLdB44bPy/NOWO84G0duh6/So2GqRxyXLzRsd6uLZFGAgHzIGPJJ65OORjoaANCikjZZI1kU5VgGB9QajlubaGVIZbiGOST7iM4Bb6A9aAJaKZPNDbrunljiX1dgv86x7/wAR6eiyQWU32m724QRoSgOOpfG3A+pPtQBocy6ruAwtvGUJ9WfacfgFH51brlbLWry3uJmnhW6SZlYlWCFCFCnAxg5wD1FX/wDhI4P+fG7/APIf/wAVQBt0VgnxGd4xp7bPUzDd+WMfrSweKdNlufsfl3YvTnZaiLdI6gAlhtyNvOMkjnigCXVtQaxguBDj7TNPtiyMhfkXLH6D9cCuZkVUtXVmlK7TuZRuc56n3PegzzXOrahLdQSwXHnkCKXG5I9q7ehIwevBNSE4GScAd6AMZZoJwLltZ1cKAoZfs7R4bYCMYHuOmeRWhrgf+zrhoW2SBd6EjoQcjI+oq0GyAwbIPQg1Q1p1+zx2zHAuZFjY55Cnqf5D8RQBfPt0ooNFABUkAJ3gDPyEVHUiDKRgcEyH+n+NAEdFDsC7MBgEkgelFAEF/wD8eFx/1yf+RqSH/VJ/uj+VR3//AB4XH/XJ/wCRqSH/AFSf7o/lQA+iiigCjr//ACL+p/8AXlN/6LauQrr9f/5F/U/+vKb/ANFtXIUAeleCdPVxq90bm4XfrWoK0cbBFOLqTk4GSffPtVjWNDuftxu9PUTmRQrpNOcqR3UnPHqPWpPAu77DqucY/tzUcY9PtUlbRjma7EjTERIBtReMtzkse46cUAYnh6PUrKG7aW1hmLTDiGfPQAYGRyR39+PetW2CzX9xLI254H8pFxxHlFY/iQw5/Cp7e2ht7cW8EYijGcBeOvU59feqGk2q2f2xopG/eTFY1lct8yjGSTyScfkBQBqVDcXMVu0ayb/3jBQVQsASQBkjpyR1qPT1nIaaW5eVZACqMgXYec4xzg8dcnirVABRRRQBQslWDVr+EMxMxS5wegyojx/5Dz+NaC/eH1qpfho3jvEXd5IbzBuwShHPscYBx7VPZzxXMUc8D7426HGPwI7H2oApeHiF0G0ZiABFkknAA5py6g0i/ubG7YtjyyybVYHvnJwPrg+1UtMUTaRpVqx/dyKWkX+8F5x9M4z9Md626ABc4G7Ge+OlVLwSXEos1DpERumkHHy/3AfU9/QfUVbooARVCqFUAKBgAdhS0UUAFFFFAFS6+TUbOQrlW3x7sfdJGR9M4xVuq2qqX02fapZlQsgC5O4cjA9cgVCutaQzmNtUsVlChnQzqCueOQT68UASasAbZAehmjz/AN9CsLT5NRudRvY9He3+yQlbdL6fL8LkmNFBG/aWI3Ej0561FrE82v3k+l7YotPtLqEXP73MlwrEFQAOiH1zzjHrXVQwxQRLDBEkUaDCoi4AHsBQBiyaDcXTPcXusXq3L/Lm0kMSKn90LyPck85rYs7eG0tYrW3TZFEgRFznAFS0UAFFFRTJcMW8qdYwVAXMe7BzyevP0oAloqtBDNHdu7OrJIgL9R+8HGQM8AjH5VZoAKqvh9VjXDfuoWf2yxwPqcBqtVVsislzdzeVtYSCIPnO9VUdPTBZh9QaALVZ/wDzMw/68T/6MFaFZ/8AzMw/68T/AOjBQBoUUUUAFFFFABRRRQBUtQ817PcSNlY2MMSjoAMbj9SR+QFW6r2PSf8A67v/ADqxQAUUUUAZlhIZhNDPaxvbGabEm4OvDn7w7frViC2aNc2t43ktyiMA6gex64/Gq2iQ8yyJO3lJNNEIwOCRIeTnq2QRkYq3YrHDF5KxmAGR9iM2cjJPHt3x2oA4iyi+zwfZsqfId4cqMA7WK9O3So7qa6iuUENpLcoyEBYwOHzxn0GPY/hU2oeXDq2pWSyFJnuHZUjG5xuAO4KMnvmrOlrqRsrhLiwuoZCyeWwiYeavOeOq9sg0ARwRC1iRb+ffO5JEQYbieu3PoPzqoLi91C9RYYXMsYKpZxsGCg9Gc9Fx/j1rWj0NpbggLcxzsAHkZcLEvfaTkEn2+prp9Ps7awtVtrSIRRr2HUn1J6k+5oAx9K8OLHKlzqcwu5k+ZIwuIoz6gdSfc1v0UUAFFZOraubWYwW6qzj7xboPaoW8QfuF22/77vk/LQBqaj/x5v8A7y/+hCrJ61RkkebSFlkADOEYgdOWFXj1oASiiorudLa2knkyVRc4Hf0FAGL4iu4muhDIT5NqBJKAM73JASPHcksBjvurWsofs9szNueRyZJOByx6gDoPSscabJdeH553OL2Vlu426gOjb4+PTI6ehNbWnXSXun215H9yeJZF+jAGgDk9elVvEqy6o0ljAbYLaGQAqTkl92CcN0A5x19qpiSOe1WZeUID4bgjHOD6EYrb8Qz/APE0UbVkWJRlSMg9yDWBpEcJ0lJIiPmd/OT+45JJGOw9B7EdqALEYVVKrkBWKjI9DinVHFuxkqQGVSOeuBtOPbKmpKAHsCfLjU5JAwPc10ckflanYQx4UrbSqDjOD8tZmj2vm6mPMKgRBX2k9eOK2Ln/AJDll/1xm/8AZaABYb0RwyO8D3Yi8uSTaQgPdgvX8MilktZ44/MhnkmnBJIlkIWQYPy4HC+xA4wOtNv7q/h1CzhtrAz28rYmlz/qx/T1569OtWrpbsxj7I0KvnnzUZhj8CKAKmjXES6ZDFNKsc0MQE0btho8DnOew9elcm0kl80l1dKpec7iuMhV/hX8Bj8c0eO2vLiSNZ7e0ljtmXe4ZlPJGQowcH8fannrQBGIY94cqXdRhWclio9AT0H0qSiigAooooAKn0j5Nfsp9pZvnhx7OASfw2D8M1BWp4WtPOvHvnzsgzHEPVyPmP4Dj8TQBrSWNpfNOt1CJNs+VOSGX5F6EciqsXhuxW4MkklxPFnKwSMCg+uOWHsc++a0rX/WXP8A12/9kWi8inmVUhuPIGfnYDJI9vSgDibywjhv7iOOaZYFlfy4lbYqDPQbcHHoO1Vr7TfK06QxWxH2hhF5kgL53HnqecDJ/Cu6tdMs7c7/AC/MfqXk5qlc+Xq0s0ccy4iU+QOgkPGXB7j+HI96AOeHAA5/GloYFWKkYIODRQAU9uIU7HJI+nH+FR0+b/Wt6A4H0FAB5kn940rbWTfkBs4K/wBaZRQBBf8A/Hhcf9cn/kakh/1Sf7o/lUd//wAeFx/1yf8Akakh/wBUn+6P5UAPooooApa8CdA1IAZP2Ob/ANFtXHV2+rwyv4b1eSNCQtjOC3QD922f0/nXE0AeneGIrqbRdWhtJ/s8j65qA83qUH2qTJA7mtO8u3guJoluD+4tA/Kk4Y7sM5xjHy1T8CBxZ6sWfKnXNR2rtxt/0qTv3rRn8r7TetJBFPtjTCKvzMRlgpJ4Jzgge9ADJb7UI4WnFnA0Qw+VlJYoR6Y+8DjPbHSprWzhm0uGK6jE24CR/M5y55J/MmkEItrq41FLeR2mijUwxgbyQWOeSBn5uue1O2/ZnE9xqLqsjfcmKKvPRR0wfxNAFtFVEVEUKqjCqBgAelLRRQAUUUUAVLxftF3Fas2ISjSSL/z0AIAX6ZOT+A71BdvdWQuDFGNk0gMcy4PlM2BlweoB54zVp/8AkKRH/phJj2+ZM/0/Kp3RZEaNsFXBU5GeDQBmeGYETSLWY5aVoQpY+g7D0FalYPho3ll4Z05WjF2kcKoViGJMDjd8xwfccfjW3bzR3EQkhcOp7jt7H0PtQA+iq01/axSmFpCZBjKohY5Pbgdfan291DOzJGxDr95GUqw/A8496AJqKKKACiiqupahZ6dEsl5OIg7bUG0szH0AAJNACarfLp9qJvJkndnWOKKPG6R2OAOeB9T0qhomjIunt/a1jYS3Us8s8mIw4UuxONxGSQuAT3xUdiz65qseomOWKwsmP2QOhUzyFSpkIPIUAkAH1JreoAy5NPsdPtQtjaQ26vPEWEa4zhhj8q1Kq6p/x7x/9d4//QxVqgAooooAKKKKACmJKjySRrkmPG7jjJ9+9M+0wfa/sokDTbdxReSo9T6e2etFxJFZ2zybAFB4VeNzMcAfUkj86AGXU5hvbRN/yTF4yoHO7aWBz6DafzFTW8McEKQxjCKMCobWF/tE1zNGiySEKoB3FUA6Z+uT+NWaACs//mZh/wBeJ/8ARgrQrGvZMeKbWJXKtJb9jzhX3H8OMfjQBs0UUUAFFFFABRRRQBFbxNEZcsCHkLr7A9vzzUtFFABRUVvcQ3AdoX3qrFCQDjI64Pf8Ki1S8+w2bTrA9wwIAiRgGfJAOMnnHXHtQBn6SwsbHU797mWe2a7mmWPywDCA5DKPXLAnn1NacttHLdQ3EmWMOTEOykggn64JH4ms6DRtPnm+1SRN5qXUz8OQrHefvDoRwD9a2KAMrRdy6pqgkAMhkViwHJXlVH4BRWrWXpx/4n+pKq4VVj5/vE5/kd1alABRUbzwxtteaNW9CwBrEvdclW4ZbZYzGpxkjO6gDfqG/m+z2cs3dVOPr2plxdrFp32s45QMBnuegrmLm/u7lCk0xKHqoAAoAruzO5djlick+ppBguq5GWOAM9aqajeJaxovmRLLKwSPe2Bn1PsP8B3p2kWK3Op2pYSNidXM0g+d8HOFH8K9R/TvQB3F4gj0/wAscBdgH/fQq2etUdSuoADa+YDMSp2jt8w61ePWgBKyNXze6nbaYp/df624Hqo6D/PqK1LiVIIHmkOERSxrP8PxO0MmoTqBNdNu6YwvYf59qANMcViaO02k3aaJdmP7O5b+zZV4yg58kj+8o6eqjPY1t1k+L9q+Hbq4xmS1AuIcHB8xDuUD3JGPfOKAMbWDnU7jP9+sfUzb2z2U0SJBK0+yeQceYp+6pHc5zz1GB61vX9rcXOrXIhiZv3hyegH41V1bT9K+wSwajdh9wxiIgBG7HcfQ0AVoI53nKqC4yVVQuT2b+bNWkuniDD6hMkC/3Adzn8BWfp2qfadJtruH/RriI/Z7gDgMwO0svqCStSKjSONxPPVjQBrWVzbx6rDFaweWrNtZnOWPHT2rSuf+Q5Z/9cZv/Za520cf2lE6jrKOvua6K5/5Dtl/1xm/9loA5TWdU8P3195zLrwujGis1lLJHsUqCcbTgsA+Dj5uD6VUub/whJbQ2NxaeIHXzSY96TFlaSRSV3ZyAS4yM/dyOlei0ZNAGBDr+n6hoD3klrOsMrtAkEqbXkOOgHb+mKwYgwT5+Dk4Gc4GeBnvxjmui8XpCdOSZ5GWaOT9wBzvY8bSPTGfpjNYFABRVe/uI7e3Je4jt2k/dxPJnG8g46A1XM80l8oXVtLSJnOEVtxxtY7fywe3Ck/QA0KKQMjDdG4dD0YHINLQA0rLI6W9upaeU7IxjOD6n2HU12enWkdjZR20XRBye7MepP1Ncb4cmmbUhdwuD5r+Si9tgbB/MjP4Cu6oAqrLHAl7PK22ONy7H0ARSaqWWqvqGmpPa27JNMG2h2BVACRvJ9PT1q9bgM90rAEGbkEdfkWsjXN0l3DptuqxoQMhRgck+nYUAan2KGQZuGe4LAbtznYf+A5xjviiUbtStUXaFijdyAOmcKPp1P5VYiQRxJGvRVCj8Kq2ipJqN1dqpzhYA3qFySB+LH9aAOf1yHydSlAXCv8AOPx/+vmqVb/imHMMM4HKkqT7GsCgB6fKu89f4fr60ynS8Pt4+X5abQAUUUUAQX//AB4XH/XJ/wCRqSH/AFSf7o/lUd//AMeFx/1yf+RqxAgWBWfqFGF/xoAFRmG7ovqelOJRQNo3MDkk9Ppiq89zi4ih5eR84A/hUdT9P8aloAq6/LINB1Jg5BFlPjHAH7tq4vFdhr//ACL+p/8AXlN/6LauQoA9X8Df8eGqf9hzUf8A0qkrWSzsmvTqCxI05Xb5gYnjp0zjPbPWsPwkkcuj6vDKrskmt6ijBM5wbqT0rpFVUUKqhVHQAYAoAWmyRxyLtkRXX0YZFOooAqs2oAblitsBsbN5JK565xjOOcY9s96tVDdtcbUW3jyzOAWJACLnkn1444pJLjbexWqqCXRpGJPRVwOPU5YfrQBPRRRQBVuG8vUbVyPldXiznoThh/6ARVtfvD61U1NVaCPcBkTxFSex3j+matr94fWgDP8ADv8AyArP/rmP51Lc6faXDlpYslsb9rFd+Om7BGfxqLw7/wAgKz/65j+dX6AGxRxxJ5cUaxp/dRQB+QqrqTGBob7+CAkS/wDXMjk++CAce1XKpa3tbTnickLM8cJI7b3Vf60APa6YarHZhAUe3aXfnnIYDGPxqySAQCQCegz1qjpImzL9ruDcXcWIpZAmxCcbuF+jDJplyskniO0R3HkpA8irt58zIXOfTazcfSgDSrjNVlv9TnvLO4l0yOe1lkktoJUkikCp0ZJQwHKnlh0yciuzrC8R2kWp6zpOn3EYltwZbiVD32gBfwJc5HcdaALfhW5uLzwzpt3ebzcTWyPIW6kkd60qB0wOBRQBV1T/AI94/wDrvH/6GKtVV1T/AI94/wDrvH/6GKtUAFFFFABRRRQAgVQxYKAx6nHJpl1CLi3khJxvUgH0PY/geakqrqE0ioLe2I+1Sg+XxkJ6ufYfrwKAF0u4kubJJZowkmWVgGyCVJUkdODj0FWay57PVhIVs9ShghaVZCWtw7AfxqBnGGPOe3vUsdzc2qKuoopQAA3SH5SfVl/h/UUAX6x2Afxqnzcw6ax24/vSAZz/AMBP51sVz1rMx8W3csdtPLmApuDKAQrKOMsO+aAOhoqm2oBZNj2V+D6i3LD81yKsQyiUHEcqY/voV/nQBJRRRQAVUvbiLJtBdtbzMB86hSUznB+YEc4NW6hmtonkFwttDJcqMIzryPbOMigCqEupr2NlmuI4omBYuFAk4wVC4zg9cnv0qe9juHntHhY+XHKWlUNjcNpA+uCQcf5LbGGy3te2qpmYYZk6Nhjnj6k81boAqy2/2iUJNHsghdXjVX4kI5yQOgBwQM9RzTnS5a/jbei20ak4BO53ORz2wBz7n6VYqnql8ll5Cs8MZmfYrzSbFBxnr6+goAk0/wD1L/8AXeX/ANGNU0pZYnZF3MFJA9TioNOIaBypBBmlwR/vtVodaAMnw+Nz3U+S5k8s+YeN+U3njtguwx7Vq1U0mHyLMDay73aTa3VQTwPwGB+FS3txHbW7yyMFwOPc9qAOc8QQSRag8j8rL8yn+lZ9Gs6hK3kyy4kmkYxqM7VGAWyT2GAfyqLwxLJPcIt55U0aMA1wgxE+c5A9x7Z7UATbm2hCzbAc7c8ZqqJ7j95/oUrbFLEqeMDsM9SeMDvz7Z7C5sbW6EcKRtGsR5YIQMdxnvXMXUrRwSNglYlZgo74H86AMmS5ZZDdjRblrjyyBzk8ZwPQfX3/AD2LUsy79pD7Og6gn/8AXWLZ+IbG6ljhjWYu6krhDgkDOATjP5UT65v0+8tYF1G0vi0cfmQ25fyj98jOVI4GDjkUAdnZae8Fo91cZErFQFPUDcOvvW+etYdhMkekrpU179pv7WONbgsfmZgwBbqevXqeoq1qOpbJTaWSme7JxhRkJ7n/AD9aAM/xheExpp8LHdIcylRnavbPp6/gPWk03WmhjWG4QuijCsvUD0rOtPE2k6c95b3dvdSXqStHOQgbzSMnjJAPQ9OnGcdBPFPY6xA8lhZzW06xiby32/MhJHRSQDlTx7UAW7rXpmytvEIx/ebk/wCFUJbx5ZYZr6d5rezWW/lhwCXEa4QY/wB5sj/aUVWppijeWORoY5HQjYWQNjnI6+/NAGlqcHi68YItrpccZwebxwBnqGUR9R6gkH2rmPGNjrFloMtzqdlbrFCyuZra43ovOPnDKpA5xnBHPNeg3V9HpWjm91KUny1G/aMszE4CgdySQAK5GVr/AF95RrMiRWZbzIbMj5UA5AkI++e+OgIoAigeI20M0EQRXjOxQMEZG4Ae+QtXDlVOc7m657CqNvqtlcXf2WzlR5A+FGOHwRuCt0OM846Zqe1LG2iL8sUXJ98UAT2523Ebejg/rXUXP/Ids/8ArjN/7LXKVv2F19qv7B2OXWGZX+vyUAbVFFUdW1S30+I7mEk7A+XCpyzH+g9SaAMHxBcG41qRM5S2URrz/EQGb8eVqlTUD/M8rB5XYvIwGNzHkmnUANkjjkXbJGjr6MoI/WoVsrJXR1s7YMmdpES8ZGPT0JFWKKAGoqogRFCqowABwKSaRIYmkkYKqjJJp9VJP3+pLH1jgXew/wBs/d/IZP4igDW8H2+ZrfepUxx72Hox/wDrmuurF8KxYhmm/vMFH4f/AK62qAILX/WXP/Xb/wBkWqdjH5+sXV2w4jPlJ+XP+ferlr/rLn/rt/7ItSQQxwx7IwQMljk5yScmgB9FFFAFfUoRcWMsWMkqSv1HSuQh/wBavsc129cjeQ+RqU8eMAbmX6YJFAFTrzRRRQAUUUUARXj7LC5wqkmFsEjpwelAnjgt1eVjgqFwBksT0A980zUSF0+5LEACF8k9uDTNIgkvQl0Y2cjPk5GAidN3tnrk9jigB1lC6hp5wPtEuC+Odo7KPYfqcmrkUMkpOxcgdSeAPqakIt4o2DHzpT02n5V/HvTJZpJQFYgIOiqMKPwoAq+IPJh8PantImk+xT84+Vf3bfnXEV1+v/8AIv6n/wBeU3/otq5CgD1DwXcNHaaqotLiQDXNR+ZAuD/pUnqasXPiRo9Wm0u28Pa5fXEEMc0v2eOHCLIXCZLyryTG/TPSua8Nnxlv1k6UdKe1XxDqOxZWIOzzz8rYGQS2/kdBt4qzYJ4mudU8WIyJHqzaXp21LGUIdvnXWQjucBiu7BJABI6UDW5vf29qP/QleJ/++LX/AOP0f29qP/QleJ/++LX/AOP10nhuO/i0Cxj1RmN6sCCcswZt2OckcE+pHetCm1Zkp3Rxf9vaj/0JXif/AL4tf/j9V5ta1Vry2kTwR4l2rvEh22ucEcf8t+eQK7yikM4AeIvERYP/AMID4gWP/nmTbb/z87H4frVv+3tR/wChK8T/APfFr/8AH67SigDzvUtT1a4nSZfBHiZjbbZIFxagmTPOf3+OV4/E1ctPEWrSRh5vAXiiB8/cP2RuPqJ8V3FFAHAaRq2q2umW9vL4J8TeZGm1sLakZ/7/ANW/7e1H/oSvE/8A3xa//H67SigDi/7e1H/oSvE//fFr/wDH6p6hrGszyQJF4L8RrGrF2do7UkMB8uB5/PJz+Arrtbh1KWfTW0+d40ju1a6UFQHi2sCDkZ67TxitKgDz+11rX45IBP4P8RSqI3850gtUDOSu3A+0E8Dd3qS01S+gRd3gvxPJKAwMjR2uTubcR/r+Bnt7Cu8ooA4v+3tR/wChK8T/APfFr/8AH6y9b1DWJ5rK8sfBXiZbq2nXki1AaJiBIp/f88cj3Ar0iigDi/7e1H/oSvE//fFr/wDH6P7e1H/oSvE//fFr/wDH67SigDg77WdUmiRU8E+JsiVGOUtegYE/8t6sf29qP/QleJ/++LX/AOP12lFAHF/29qP/AEJXif8A74tf/j9H9vaj/wBCV4n/AO+LX/4/XaVxWoW3i+XVfEZ01ry1DxQrp0lzPFJbs4I3MqKdyADIII+bk56YEAv9vaj/ANCV4n/74tf/AI/R/b2o/wDQleJ/++LX/wCP1hS2nxXhuW+yXB2M4AMksMiggKCx3DOw/vCAuG3FM/LuqPVbH4wBktrXVlmt2ExecR2yzA4+RegAzjqAfmY546MEdA2vakFJXwR4nY44Gy1GT/3/AKZ4c1f7ab7fpeqQ3tvcCG7SeOIMj+WkgUbXI27ZFI57nPOaxNMj+MQmtbjULiJ1F3Gs1vGLZFaEu+8lsMcAbMYwcds5NdDoX/Iz+MP+wvF/6QWlFtANH7XJ/wA+F3+Sf/FUjXLMpVtPuypGCCE5H/fVWqCQASTgAZJpAYVlq01tEIrvT7gQxSNAs25STt+7uyeMjvk8/WodKupv7Tt5JdPulkksDI64TgtJuP8AF71rWDCae9bKSQySK8RGCrKY1GQeh5DVDK8cXiEySMsca2BLMxwAPMFADr7V4rGBprm1u0QAnhFZiB1wAST+AqaO9aRFdbG7KsAwO1eQf+BUGzWa4a4knkdTsMaq2AqjBxx1yRz6jjpVugChdahNH5Ij0+6JklVOQnA5J/i9Aam+1v8A8+N3+Sf/ABVVprhY7xry54t4H8pXLAKmR8zn8flz2596bYeZcWZvPtCTEOxguJkIxHjGcYGOh57j60AP/tKRr77NFY3DeWu6bhMrn7o+91PJ+gqKZ7m4leK6tZxbH7sUeAzj1Y7s+nA/+tVezNrFbSW5nn+2XjG4VY/3crgngjAHYDPpnntWrbWNvbzGZFdpCMbncuVB6gE9ASMn1NADY7gxosaafdqqgBQAnAH/AAKnfa5P+fC7/JP/AIqrNUtc1BdL057xoZJsEKqJ3YnAyewz3oAWa7uPLPk2Nxv4wXC4Hr0aorZmjleeSzu5Z3wC5RBhR0UfNwKtWFx9rs4rnyZYPMXJjlXay+xFT0Ac9ZX39nOENvcrbTXEqKjbP3bmRsY+boenscetbH2qT/nwu/yT/wCKqPThbzRT/LFIRPKj8A4O88H8/wBah23FrdW9hbuGgc7gSSWiReo9weAO4z36gAtfa5P+fC7/ACT/AOKrlvH89yy2En9nXptFmxcEKvAIwM/N03Fa7KqHiGF7jR7iBATvXB29cZ5xQBx2g21xeafFGttcgMvmEkKSgbpjLZ4zgfStbw3Z2el3cttHZ6hc3AA3yyRxgZH0br79TU3geVYrBbJopFdfuu4yWXqoJHsRXSUAZOp6xNabAul3chkyF+7976bqzNTS+uolvf7Ku0lK/vIxtzx0I+b9K6K4hhM0d1K5XyASMnCjPUmsDWdcuDem10srNuXbkLn5j6f06D3oAw/tMn/Pjdfkv/xVQy6pdR4Fil3DPnbuREY4Pb72B9e1dHa+GpJQG1C5OM/6qPoR6H/JrbsdPs7If6PAqnGNx5b86AOEg0u9uLDzJtKurR/tHmtOWDSsSR3LZ/Hv+Nb2iwf2HNcTXFnqMrTMF84BSu0ZIBUH5cc8njnrW/qP/Hm/+8v/AKEKsnrQByjWutzSvNZ6vfxW8pkYbYY5M7vukF2IXb0woA46ZzV3Qo9Ys3uG1K8v9S8xv3QNtDEI1yePlPJ5HJ9K0ZYpLWZri0j3o5zNCMDJ/vL2z6jv9eozXN02xFe2g/jdxh29lHb6/l60AYsljFqV09y1rqMVvuKhISi+ZjgknORznpj1zTNZtrPTtPk1G1028t5rZd0eGXbI/wDCrAsd2TgevPFdPGiRRLGihI0UKoHAAFecapHH4mvpr2/aWSzWUraQrKyxlFPDkA8ljnr2OKAMvVrzWda1oxyPextayHzJIhG8cDYOFQElS/PJ5wBg8nixJBe3SrHqDXUkOMPDDEkayf7x3E49gRWzFHHDGscUaxoowqqMAD6VteHrHzpPtUy5jT7oP8Tf/WoAxpbPyfDDsmm3ELKNtthEzF8pVSuTwckflWJb6pf2+owafeWrXDSqzJJEFVwqjlnTOAM8ZB6npXoniTjSmPHDr1+tefzbtP12KWMxsmpOEkV87kKRk5U+mF6H6jvQBofapP8AnyuvyX/4qq1t4ostJ8S263UN0P3LiRUj3sucYJCk+lWL+/tbKESTzICw/doDlpT6KOrH6Vn6Zata3dq0oxc3Cyz3B9ZDs/kAB+FAGzqfiCbUJVlthqCWLALsXYvzdRuIOcEdOcZBBGaqxyiMER6fcLk5OFXk+/zVCYbf+2NjRqQ0fmFXGV3gjBXPQ8HOPatGgCt9pf8A587r8l/+Ko+0v/z53X5L/wDFVZooArfaX/587r8l/wDiqPtL/wDPndfkv/xVWaKAKr3bKjN9iujtBOML/wDFVX064cWiSGzuS8o8xyAvJbn+9+H4VbvJXjRFiKCWRwibucepx3wOa1fDGkRtAitu8iABRn+M0AbGlSvBp8Mf2C7ztycBOp5/vVa+1yf8+F3+Sf8AxVWaKAM+1u5PMuf9Bu/9d6J/dX/aqf7XJ/z4Xf5J/wDFU61/1lz/ANdv/ZFqegCt9rk/58Lv8k/+Ko+1yf8APhd/kn/xVWaKAK32uT/nwu/yT/4que8RSTLfJPHp9425ORtU4x/wKt7U7+KyiOSGlI+VP6n2rlZZpZZWldyXY5JzQBWa4YglbG6BHVSF4/8AHqZ9qk/58rr8l/8Aiq0Yrm4iUEysRj5VbnP59qYZgx/eRRt/ujaf0oAo/apP+fK6/Jf/AIqo7q/a3t5JmsbohFLYAXJx2+9Wltt2HyyNG3o4yPzH+FVtQtZ5bCURKC23KMOQGHIz+IFAGRfNdXFjKb20l2rEzeUijbu2nqS3OK2rm8ljtra2FldKFhRnGF5YjOT83uKqyyrcaS8yfdkgJH4rWhesGuXI6DCj6AY/pQBR+1Sf8+V1+S//ABVH2qT/AJ8rr8l/+KqzRQBk69cudB1IfY7kf6HNyQvH7tveuYrstbRpNC1JVxn7FOeewEbE1xlAHq/gUAWOq4AGdc1En3/0qSsXxBf6XHr/AIy0m98QaZo11qXh21gtZLy7WH5mN4oYZIJAJGcVreCo7hrLVDHcBF/tzUcDys/8vUnfNa5kaGQR6hHGyk4jn2fKfQEfwn9D+lAHOf8ACwbn/oPfDf8A8KM//G6P+Fg3P/Qe+G//AIUZ/wDjddb9ni/54R/98Cj7PF/zwj/74FAHJf8ACwbn/oPfDf8A8KM//G6P+Fg3P/Qe+G//AIUZ/wDjddb9ni/54R/98Cj7PF/zwj/74FAHJf8ACwbn/oPfDf8A8KM//G6pWXjS/t9R1C6k8WfDyeO6dGihfxGdtuFQKQvydCQW7cmu6+zxf88I/wDvgVR1W2t7gw6c9vGVuCWf5P4FwSPxOB+JoAwP+Fg3P/Qe+G//AIUZ/wDjdH/Cwbn/AKD3w3/8KM//ABuut8iL/nhH/wB8ClW3i3D9xH1/uCgDkf8AhYNx/wBB74b/APhRn/43R/wsG5/6D3w3/wDCjP8A8brd8OW0H9i2j/Z4txiAJ2DOMn/E1ofZ4v8AnhH/AN8CgDhtQ8bX9zdafNH4q+HdutrcmWWNPEZxcKYpE2N8nTc6v35QfUXP+Fg3P/Qe+G//AIUZ/wDjddHq1lHNp8qLaxuwAZV2gEkHPB7Hile50xIPtDvbpHsWQllAwrHAJ9OeKAOb/wCFg3P/AEHvhv8A+FGf/jdH/Cwbj/oPfDf/AMKM/wDxuusSKB0DrFEysAQQoII9ayNcSBZyqWCpcxRG6hnUKASnVW77cHBzxg0AZX/Cwbn/AKD3w3/8KM//ABumXHj26lt5I18RfDiNnQqHXxGcqSOv+rrrbdYJ7eKdbdQsiK4BjAOCM0/7PF/zwj/74FAHE6T44vbPS7Szm8UfDu7lggSJ55PEZ3SsqgFz+76kjP41Z/4WDc/9B74b/wDhRn/43Vy2t9R0y/1Ob+wY7qG5uvNUwSIG27QBhDjnjnnk81O39tXxzZ2FnpkQ6PdxeY7/APAFI2j6n8KAMz/hYNz/ANB74b/+FGf/AI3R/wALBuf+g98N/wDwoz/8bq2+pQlrfTdUtEs9RaaMKpj/AHc5DDJjbofXHUZrovs8X/PCP/vgUAcl/wALBuf+g98N/wDwoz/8bqfwn4q0O3vtXv8AXPGfhFZb6eN44bXWUkSJViVOrbeSQT071032eL/nhH/3wKPs8X/PCP8A74FAEP8AwnXgn/ocfD3/AIM4f/iqP+E68E/9Dj4e/wDBnD/8VU32eL/nhH/3wKiuja28YaSBSScKixgsx9AO9ACf8J14I/6HHw7/AODOH/4qsXwfqFjqeteLL3Tb22vbV9XjCTW8qyI2LG1Bwykg4IIrSt9Mjk1D+0rm3UTBTHFHtGI0z+rHv+X10VQKMKgUegGKACquq2893ZNbwTLCZCA7ld2F74HqelW8H0NQ3kU8kY8iQxyKwYE9D6gjuMUAN0/zPsMPnKBKFxJtXaCw4JA7AnJ/Gs24kgk8WR2sscjlrLcP3bFMiQEZPTt0rawfQ1hapC15r5sUYqJLHExVsMiGTt7nGP1oA0Z55o9VtYFwYZEfeNuSGGNvP/fXt+mbdIIkEjSCNQ7AAsF5IHQZp2D6GgDN0maHzbqwaTfPHcSs64PCuxcfo4H4GoZ4ZWurP7UFYXE7LIgOVEaq7IvvyBn1qaazjutRuIZI38opFKxVip8wFgCCOQcAfp71ZvbYy2LQxIAygGLPAVl5X9QKALGBkcDjpxRUVrMLhCdjo6na6MMFT6f/AF+9TYPoaAMGPw/PHdSTR65qKLIWLIJMjkkjGc4IJ/HAo/sG72lR4h1Jd775CGGWPy9M5wML0Hqa3sH0NGD6GgDn7XSdSstSt5Bq97d2u5jJG7Dqe5PcDnj3rU1G4a38rb0yzScZ/dqpLfj0H41NFNvuZoGUq0W0+xUjr+YI/Cs3UJpNR0TfbsbdJp0SOVuPl3j5se+OncfWgBvhlXzcM27IYpJk9ZA75+pAKgn2qzBBJNZrdJLtvJUV9/8ADnHC4/u8n8eaZA32LTPIgyZWnlihDcksXbk/qT9K0LaEW9tFbpuKxIqAnkkAY5oAZaXC3ERbbsdTtkQnlG7j/wCv3FZnjO+ay0OVYs+dcfuYwB69f0zVvUnispor53EQZ1hlJ4DKeAT9Cc59M1jeK/K8QaTcaXYwzSzOuI51UgRN2b8CPbOKAINGsb6eUFr6S2jtrlpJgrHEg3EhTz/dA6+tbN1q3mO1tpsbXM/Tco+RT657/wAvequmaFdNBHHqE7FQFLRRnAdwoUsfrjOOcetUzPrcMkn9iz6LLp+W8kyOAcqD8mQeTkAEnnk0Aa6abLdLu1WbzjkYjjJVFwOfrnr7dqvpbW6BAkEahDlcKODXHjUPHklyI1h8OIvBfZcF2QYJ4yRnoPzb0Ge1ypYhTn29qACimCaIz/Zw4MuM7e+KkwfQ0AVtR/483/3l/wDQhVk9ar6iD9jfg/eX/wBCFWCDnoaAEopcH0NGD6GgDD8c3k9n4cm+zMyTXEkdsjgZ2eYwUn8ia56CKOCBIYl2xxqFUegAwK6TxnYXF/oEqW3+ugdLhFPRzGd20/XFc1bSrcW8c8YbZIoYZHODQBZs4WuLqOFf4m5+neuxhjSGJYo12oowBXOeGw/9pAiMsNhBOPu10+D6GgDJ8VN/xKZIgR+8BB9cYPP57fzrlLy0tbyEQ3UEc8YIYK4yMjvXQeLn3PBb7MnIbPpg5/mq1jYPoaAKNnpOnWlwZ4LVVk6KSS3lj0QH7g56DFOn/wCQvaf9cpf/AGWrmD6Gqc4P9r2nB/1Uv/stAD7qKUzwzxAOY9wKM2Acjr9R/U1GjaijCWeOFkxhooSSV9wSBn6fzq7g+hpVVmYKqkknAAHWgCqb61CbvMP+6FJb8sZqPztRZ1aOzhWI9RLMRJ+QBH61ozwTQSGOaNkf0Ipm1sZ2nHrigChM+oAmdUjWOMZMOdzSevPb29farkbLIiujBlYAgjuDTsH0NVI1ntHdFheWAndHtxlPVee2efxoAZYl7t49QfCxmM+SncBsZLH14HHaur0C68uVbE4ClNw/3jyf0/lXPaVbulukcy4wWeTHYFixGfxxVkzS/ajcJlH3bhjtQB2lFYlnro27bqJtw/iQdfwqR9egB+W3lP1wKANC1/1lz/12/wDZFqeuetde3S3QW1I/ek5LeiL7e1RS61fv93ZGP9lef1oA6ViFUsxAA6k1i6prQU+XZkFgeXIyPwrImmurk/vJJZPY5xUfl4+8wHsOTQA2R3kcu7F2J5J6mnEKg55f07D60+VfLCmIHaw4Y9ff6VDg+hoAGJYkk5NFGD6GnxRSSNtRfqT0A9TQAkMbSyrGgyzGpb29jsom+zyFIYvmZx1dv89BRLIkMLRQngj95IRjd7D0FZkAN7KtywP2dTmFcfeP98/0/OgBLB5hapZyaa+1YXAkDqAFAJXdzkkDHbrVtG3IrHqRmpkytreynP7u0lP5qR/WoYQfJTg/dH8qAHUUYPoaTI3FcjcOo7igCDW/k8Lau/d7OaMfTy2J/p+dcVXbeKFKeHb6LuthMzcdzGx/liuJoA9nuPAfhqe7uLo2+oRSXErTSiDVbqJC7HLNtSQKMkknA6mo3+Hvhh1KtHqzKRgg61eEEf8Af2iigBlt8PvDIt0ATVwAMD/id3v/AMdqT/hX/hr+7q//AIO73/47RRQAf8K/8Nf3dX/8Hd7/APHaP+Ff+Gv7ur/+Du9/+O0UUAH/AAr/AMNf3dX/APB3e/8Ax2mH4eeFzOrmPViyqQD/AG1eZGcZ/wCWtFFAD/8AhX/hr+7q/wD4O73/AOO0v/Cv/DX93V//AAd3v/x2iigCK1+HvheO3REj1ZVAwANbvMD/AMi06bwD4bWJmVdXyB/0G7z/AOO0UUAKnw/8NY+7rHU/8xy99f8ArrUcPw78LIwKRasp2441q86Z/wCuvufzoooAba/DvwvBbmOGLVo0QkIq61eAKPQDzeBTj8PPC8kOZItWYtHtbOtXnIPUf63pRRQBL/wr/wANf3dX/wDB3e//AB2j/hX/AIa/u6v/AODu9/8AjtFFAB/wr/w1/d1f/wAHd7/8do/4V/4a/u6v/wCDu9/+O0UUAVL/AOHPhSW4t5JINUd4tzRs2s3hKnjkfvfarY+H/hrA+XV//B3e/wDx2iigA/4V/wCGv7ur/wDg7vf/AI7R/wAK/wDDX93V/wDwd3v/AMdoooAP+Ff+Gv7ur/8Ag7vf/jtQx/D/AMMvIsjR6sWUMAf7avOOf+uvsKKKAJv+Ff8Ahr+7q/8A4O73/wCO0f8ACv8Aw1/d1f8A8Hd7/wDHaKKAD/hX/hr+7q//AIO73/47R/wr/wANf3dX/wDB3e//AB2iigA/4V/4a/u6v/4O73/47UQ+HXhUXZmEOqiQptL/ANtXmSM9M+bRRQBL/wAK/wDDX93V/wDwd3v/AMdo/wCFf+Gv7ur/APg7vf8A47RRQA0fD7wz5zNs1fJUAn+27z3/AOmtO/4V/wCGv7ur/wDg7vf/AI7RRQAxfh74XWZ2EerBmA3H+27znGf+mtP/AOFf+Gv7ur/+Du9/+O0UUAH/AAr/AMNf3dX/APB3e/8Ax2j/AIV/4a/u6v8A+Du9/wDjtFFAEB+Hfhcwzfu9W+ctuP8Abd5z25/e+lSP8PPC5VVMerEAjA/tq84x0/5a0UUAQH4ceFGuVZodWLJkqf7bvflJPJH73vVr/hX/AIa/u6v/AODu9/8AjtFFAFG7+G/hSVg0sOrOfNAy2t3p49P9b09qux/DzwvGgSOLVUUdAutXgH/o2iigBw+H/hrP3dY/8Hd7/wDHa5Gb4U+BzLzp1/wxYf8AE4vOGJTJ/wBb14H5UUUAV2+EvgQxoTpl9nagz/a956Y/56+hI/Gusj+G/hRcSLDqwcgZYa3eg/8Ao2iigB8Pw38JxyGRINVV/wC8NavM/wDo2pv+Ff8Ahr+7q/8A4O73/wCO0UUANk+HvhlkKsmrkccHW7z1/wCutO/4V/4a/u6v/wCDu9/+O0UUAH/Cv/DX93V//B3e/wDx2j/hX/hr+7q//g7vf/jtFFAB/wAK/wDDP93V/wDwd3n/AMdrOsfhf4NS3CpZ6kqhjgDWbwAc/wDXWiigC9B8OvCsKbYodVQHrjWrwf8AtWn/APCv/DX93V//AAd3v/x2iigCtN8NvCUs+6S31V2x1OtXh9P+mvsKb/wrLwf/AM+up/8Ag6vP/jtFFAB/wrLwf/z66n/4Orz/AOO1G3ww8G/aI2+x6luCtg/2zecdP+mtFFAEn/CsvB//AD66n/4Orz/47T4fhr4RjkDpbaorDoRrV5/8doooAdcfDfwnMwaWDVXIGATrV5/8dpi/DXwiv3bfVR9Navf/AI7RRQA4fDPweRzaamT6nWbzP/o2o/8AhWXg/wD59dT/APB1ef8Ax2iigBx+GfhDYF+y6pj0/tq8/wDjtN/4Vl4P/wCfXU//AAdXn/x2iigA/wCFZeD/APn11P8A8HV5/wDHaP8AhWXg/wD59dT/APB1ef8Ax2iigBsXwx8HBnItNTGWOf8Aic3nPH/XWn/8Ky8H/wDPrqf/AIOrz/47RRQAr/DTwieDbapgdB/bV5j/ANG03/hWXg//AJ9dT/8AB1ef/HaKKAHH4Z+ENoH2XU8DP/MavP8A47Tf+FZeD/8An11P/wAHV5/8doooAP8AhWXg/wD59dT/APB1ef8Ax2kg+G3hIxupt9UxvIx/bV52/wC2tFFAEd18MPBroqNZ6kys4BB1m8wR/wB/adb/AA08INBGzWupklQT/wATm89P+utFFAD3+GfhD7PKv2XU9rqQw/tm85Hp/rajh+GnhAs6/ZdTwpAH/E5vOOB/01oooAk/4Vl4P/59dT/8HV5/8dqrY/DHwaDIRZ6kCQCx/ti8yTz1Pm80UUAW5vhj4Nm3rLZ6k6uCrhtZvCGB4IP72tj/AIRHw3/0CYPzP+NFFAH/2Q==">
            <a:extLst>
              <a:ext uri="{FF2B5EF4-FFF2-40B4-BE49-F238E27FC236}">
                <a16:creationId xmlns:a16="http://schemas.microsoft.com/office/drawing/2014/main" id="{FC6E6760-C322-44C6-A90F-006AE25F6C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AutoShape 21" descr="data:image/jpg;base64,%20/9j/4AAQSkZJRgABAQEAYABgAAD/2wBDAAUDBAQEAwUEBAQFBQUGBwwIBwcHBw8LCwkMEQ8SEhEPERETFhwXExQaFRERGCEYGh0dHx8fExciJCIeJBweHx7/2wBDAQUFBQcGBw4ICA4eFBEUHh4eHh4eHh4eHh4eHh4eHh4eHh4eHh4eHh4eHh4eHh4eHh4eHh4eHh4eHh4eHh4eHh7/wAARCAJTAsk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37w94d0fWBq19qdtNc3LazfoZGu5h8q3DqoADgAAAAY9Kyr/wno1veSw/Z7nCtxm+n6dv466vwN/x4ap/2HNR/wDSqSmeKIdt3HMP+Wi4P1FAHIf8I1o3/Pvcf+B0/wD8XR/wjWjf8+9x/wCB0/8A8XWlcXNvbvCs8yRtPJ5UQY43vgnaPfAP5VNQBlxeGtExITbXBwnGb2frkD+/71H/AMI1o3/Pvcf+B0//AMXW5b7d5RuA4259D2P54p1taz3EjRxJkr97JwF+poAwf+Ea0b/n3uP/AAOn/wDi6P8AhGtG/wCfe4/8Dp//AIuugMNsn37ree4jTP6nFR291ZyReZDbM43MuZXz0JHQY9KAMm28MaH88slvcFEHQ3s/zMeg+/8A5xUQ8NaNkf6Pcf8AgbP/APF1v/aQy+XLBGY85AQbSPfPf8c0JbiZsWz7z12MMN/gaAOV0jw9pMumW8kkN0zsmSTfT5P/AI/Vr/hGtG/597j/AMDp/wD4ureh/wDIItv9yrtAHOyaRoMd79lksdRHy7jKLm4MY4J5If2x+IqGWz8MRyzRtaaopiZwxaW5C4Xdk534x8h/SupDMOjEfQ1QSDU40ljXU2limleR1mUPtBfIRc9F2/KR+NAFLTrLwotvcXEunanLt+RMy3JQHjk/Pz1HSm3eleHAjzx2OpCBGRM/aJ8sWJGcCT1ByO3ArTtLXxNJbzXK+II7cWwEvlJACoUZJxnvjjPt2yaj1Oz1sahFJDrJR4BMrAoNsm4/IWA4OB19yT7UAZ6aHocjhUtL4qQ5En2q4C/L1H3+tT2PhrR7yGN47O8UzMFjD3k4J46/f6c/oa0LBb6OIre3v2psLg7AuCBz09TWtpzH7Wzbj+7gcqfQ7f8AE0AYF94b0ATmOC1nCR/Lu+3T5Y9z9+q//CNaN/z73H/gdP8A/F1r0tAHP6h4d0mOBWSG5U+agyL6foWGf46s/wDCNaN/z73H/gdP/wDF1c1T/j2T/rtH/wChCie/gjuTapvlucbvKQZIB6EnoBQBS/4RrRv+fe4/8Dp//i6D4b0X/n3uP/A6f/4urqw3Up3T3JiGf9XDgcehYjJP0xSiwtScyoZ29ZWL/oeB+FAGDqWiaI1t/okjeZn7o1Gcl/YbXJ646CtDwZ4btNR1aT7TYs9lDGRJ/pE6qrnGFBZ95IAOSfWtRIYYzmOKND6qoFX/AAMWGuazHuKriFguThsg5b25/nQBd/4Qnwv/ANAx/wDwMn/+Lo/4Qnwv/wBAx/8AwMn/APi66GigDnv+EJ8L/wDQMf8A8DJ//i6juvB/ha3tpbhtJmdY0LFUu5yxA9Bv610tFAHn+jaZ4T12a4i0rR7mM2pInF3JdRk5U7dh34PzAZ9s1mDwfqB1K7t202xEi6c72228n2yTcBcqZOBknJz2969UrO/5mYf9eJ/9GCgDiF8GyLOVvNLt/KdxEphvJxnc6jcP3hIIXccZ7V03/CFeF/8AoGP/AOBk/wD8XWve5a7so1YD96XYdyFU/wBSKtUAc9/whPhf/oGP/wCBk/8A8XR/whPhf/oGP/4GT/8Axdb8siRRPLI21EUsx9ABkms7RnupoLbz2b9xAqSknmSbaN2fYc/j9KAKP/CE+F/+gY//AIGT/wDxdH/CE+F/+gY//gZP/wDF10NFAHPf8IT4X/6Bj/8AgZP/APF0f8IT4X/6Bj/+Bk//AMXXQ0UAc9/whPhf/oGP/wCBk/8A8XR/whPhf/oGP/4GT/8AxddDRQBy9l4M8MvE5bTpCRLIObyfoHIH8fpU/wDwhPhf/oGP/wCBk/8A8XWzp/8AqX/67y/+jGqxQBz3/CE+F/8AoGP/AOBk/wD8XR/whXhccnTWAHUm8n/+Lroaq6sW/s+VFXcZMRgeu4hf60Ac7pHgvw82nRPcadIztuYE3k+dpYlc/P124q3/AMIT4X/6Bj/+Bk//AMXXQgADCjAHAA7CigDnv+EJ8L/9Ax//AAMn/wDi6qW3gzw5czm4/s6RLdCVjUXs/wC8PILH5+noPx9MdW7rGjSNnaoLHHoKp6DbyWui2VvMwaRIEDkdC2OT+dAGX/whPhf/AKBj/wDgZP8A/F0f8IT4X/6Bj/8AgZP/APF10NFAHMX3gzwylqzLp0inK8i8n/vD/bqc+CfC+f8AkGP/AOBk/wD8XWxqP/Hm/wDvL/6EKsnrQBzv/CE+F/8AoGP/AOBk/wD8XR/whPhf/oGP/wCBk/8A8XXQ0UAc9/whPhf/AKBj/wDgZP8A/F0f8IT4X/6Bj/8AgZP/APF10NFAHPf8IT4X/wCgY/8A4GT/APxdH/CE+F/+gY//AIGT/wDxddDRQBz3/CE+F/8AoGP/AOBk/wD8XR/whPhf/oGP/wCBk/8A8XXQ0UAc3N4P8JwxNLNp5RF6s17Pj/0OsuXwfotxrFoi6dNa2rJIxU3k++TG3r8/y/z+ldXNGZNZh3ANHHAzAHoH3AA/XGeaS5/5Dll/1xm/9loAzP8AhCfC/wD0DH/8DJ//AIuj/hCfC/8A0DH/APAyf/4uuhqlHfebqZs4oyVQHzHPY+g/GgDL/wCEJ8L/APQMf/wMn/8Ai6R/A/hdhtOmygZB+W9uAeD/AL9dFRQB5xdeG9GiUQfYJVYDDsbycsWHB/j45Hbtiobfw3oguI91rcMu8ZBvZ+Rn/froPEC+Xrcq+WyiRFdTjhuAGx75xmqYODn05oApL4V0N3ktTbTrKrkRt9unG45+6fn/ACqq3hnR1Yq1tcgg4IN7Px/4/W/qS7dQnH+3n8+akUR3aGSRiskS5kwMmRfX60Ac/B4V0iUnFvcBV5ZjfT4Uf9906fw7oOPLhtLjaP42vZ9zH1+/x9K155jIBGqiOIH5UH8z6moqAMqx8M6LdLcRi2uPPjkOwC+n+ddo4+/17+9M/wCEa0b/AJ97j/wOn/8Ai60bJmWa4ZSQwnyCOx2rWhcKs8Juo12sCBMo6Anow9j/ADoAxh4X0OeImO1nWZB8yi9n+ceo+fqKr/8ACNaN/wA+9x/4HT//ABdbKMyOHRirA5BHap51WWI3MYC4IEiD+EnuPY0AULTwv4duIJH+xzCaKJsoL2fD8cMBv6is7/hGtG/597j/AMDp/wD4utuCV4ZVljbDKcipr6OPCXMAxDLnj+6w6rQBiz+F9EaFbiO2nAPyuBez8N/330P+NQjw3owIP2e4/G9n/wDi63bV1BaKRtscgwTjoexqOWNo5GjcYZTg0AZ0/hfRJUe4is7hFUqHUXs+FJAP9/of64ptr4Y0N1nVrW4LeUWU/bZ+COf7/pmtkTmKUSKnBADq3RxtXipAkcFxDcLuNrISOeoHRgfpmgDlr3w5o6Wc7LBchljYgi+n4OP9+nxeG9HMSE29zkqP+X6f/wCLrV1WMxWt3G3VY3H6GnQ/6pP90fyoAyv+Ea0b/n3uP/A6f/4urp8K6DNbfaYrS4DoP3kYvZ8H/aHz9PUVcUbmA6UyzupfNkljYqI5WSM/7Ixn9c5oA57WvD2kxaLqE0cNykiWsrIwvp8ghCQfv+tU/wC2NW/6Cl7/AN/2/wAa6vxRGknhrU7q3Xan2OYSJ/cYxt09jXDUAer+Bv8Ajw1T/sOaj/6VSVc8RwtLYhlUsyODgDJweP8ACqfgb/jw1T/sOaj/AOlUlbzrvRlyRuBGQcEUAfI/7Wfja58J+LfAtlHvie1vRqtwvTKK2xR+I8yvoiCOykt47g38bxyoHQQjflSMjnp0NfHX7Xfg7xNdfFqz1DU7yzSDV7lNN01GmZnRU2je/HALOTxk819N/DXTdZ0bwLpGj+IHhk1GxtxbSyQuXRwnCsCQDyoHUUQ1p69/6/QJ/Grdv6/U6qe8060iL+QCAf8AWXD/ANBVa6vL7U7R2iiCAA5jlBUSj1Cjp+P1xSGNGcOyKWU5UkZI+npU0HAkk/uocfU8f1NAGLbXEEV2jQM0duYJJJYi2djKVzkH7pGT9au6WMabbY4BjVvzGai1TTba/jPmKVl2kLIjFWHHQkcke3SpbG4aVDFNhbmIASqPXH3h7HtQBZpVyGBHBz1pKF+8PrQBBoU27SLUTIJR5eM9GH4/45q6IUk/1EmW/uPwfw7GsbQbq1bR7Xbcwn92D/rB0rToAGBVirAgjqDRUqTnG2RRKpIznr+B6inGBZPmtmL/AOwfvj8O/wCFAFnSkJtp8YzM6W/PTDH5v/Hc1UvJPNu5pP7zk/rWjo2Gjgi3KrG4Z8k4Jwn3R7nPT0DVktwxB65oAKuWzBbe6uO/liPGehJAz+QqnTo922RR/dyfwNAFO/M0SG6ic4iUs8WMh1HJ+h9KsqQyhh0IyKWqVv8A6HMto3+pcnyGJ6HqUP649uO1ADPELmPSpJA21lZSp9DkY/WrdvDHBHsjXAzkk8kn1J7mqPiPzPsMTKu9EuI2kQAZZQ2cDPvitFGWRFdGDKwBBHcGgB1FFFABUnhGES+Mbu5Un9xZrE2D3Zs4P4dPqar3M8VvC00zBUXrnv7V0PgizkttDW4uEKXF45uJFPVd33V/BcfrQBuUUUUAFFFFABWf/wAzMP8ArxP/AKMFaFZ4/wCRnX/ryP8A6MFAEyFG1eTGCyQKD/s5Zjj8cCrVUtDYyack7DDzO8jH1yxwfyxj2xV2gCtqsE1zptxBbsqyuhCFhlc9s+1Lpvl/YYjCrKpXOG+9nvn3znNWBVTSVZbV2LZ3zSuB/dBc8UAW6KKKACiiigAooooAr6f/AKl/+u8v/oxqsVX0/wD1L/8AXeX/ANGNVigAqpqLMZbOFVLCScFsdlUFs/mFq3VV9z6rENw2RwszD/aYgKfyD/nQBaooooArapk6fOoJBddgIOMFuP61ZVQqhV4AGB9KbNGs0LwyZKOpVsehqDTZHe1CzMGmiJjkIGMsvGfxGD+NAFmiiigCvqP/AB5v/vL/AOhCrJ61W1H/AI83/wB5f/QhVk9aAEooooAKKKKACimysyRlkjMjDooIBP51Ujm1KNibqzidD0+zOWZfqGAz9R+VAF2orubyIC4Qu5O2NB/Gx6D/AD0qv9pvJh5cNjLAxP8ArJ8bVHrgEkn2qWG0SOc3DSSyylQpZ244zghR8oPPUDNACWdvJGxmuJ2mmZQpOAFUegA96iuf+Q5Zf9cZv/ZavVRuf+Q5Zf8AXGb/ANloAvUyKKOIMI1A3MWPuTT6KACiimySLFG0j/dUZP0oA5LXLhrvWHbP7q3BiiHvn5z+Yx/wGqlPdRgOMjeSxzzls5Y5+p6e/Sm0AWdSO6dH/vRIfx2jNQQyPDIJIzhhUt1zDbP6x7fyY1BQBPcxoUFxCMRscFf7jen09KgqS3maFyQAykYZT0YU66iVCskTFoX+6T1HqD7igCjaf6y5/wCux/8AQVq5bTGGTdjcpGHU9GHpVO0/1lz/ANdj/wCgrVigCa6hEZV423RPyjf0PuKZDI0TblwQRhlPRh6GrVmojgZrpttvIOFxlmPqvp9arXMRhk27gykZVh0YetAD54lKefBkxZ5U9UPof8adZSoA1vMf3MvU/wBxuzUW8UsJWaRxAp/vDJYf7vf+VEtxGrOLWFY1bglvmb9en4fnQBDcRPBM0MgwynBqXKzwfvHVJIxjexwGX0z6j+X0qWEm9i8hyWuFGYmJ5b1U/wBKqxSFGKAkNtZiAOR0HJ9Ofzx6UAI7bsfvC/fPbJ7D2qW2mVQ0M2Wgf7wHVT/eHvUFFAE3iKBk095ydweBlLDoxC9fxGP1qtD/AKlP90fyqS4uWTS7qCQeZC0TZUnocHkehqVYkhhjmjkEiFR5fYg47j2oAYfkXb/EevsPSqOkLixDZyJJJJB9GdmA/WrTjcrKSeQRmquns0a/Y5FUNCi4ZfusvIB9unIoAh8Q3k1to1/FAgkeayuAys2FCCM5J9eo/E1yf511VxGLzRtavWysQsZwrYH+rEbYI/3m/TFcpzQB6x4G/wCPDVP+w5qP/pVJVnxnr1p4W8Jat4kvlZrbTbSS5kVerbRkKPcnA/Gq3gb/AI8NU/7Dmo/+lUlS+PPD0HizwXrPhm5kMUWp2clsZAM7Cw4b8Dg/hUzvyu25UbcyvsfM2o/DbxX8c/CXg34pXHia8E13qW6bTreJFj062M5jMkHdmUIhJbOeT2xXafDnxXeH4ieLPhrrF/Jqd74dlX7PqEqKkl1CQMmQLxuBYcgDIIrxHU/ip8SfgfceEvAt/wCH7a0l8LPO6yeezR6rbzM3XHG3nII5BUdCCK9W+CHh/XtQ8ZeJPix4o0yPSL/xKENvYI+8xQ4U7if9rauB14rVct3y/Dr+lv633Id7e98Wn63/AK9D16n5xb4x1fk/Qf8A16ZUnBtj6q/8x/8AWqBkdV7m1jndZN0kUqjAkjbDY9PpViigCjPHe24EtvcNOi5LxSoGZh6Kwxg/XNXIJFkVJY2DK2Cp9adVWOP7NfM+TFBKvAP3WkzyQegPI475oAo6TpunzaZbySWkTM0YycdcDH8hWwaoaO6R6LbPIyoojGSTgdali1C0kkKLLg9iylVb6EjB/CgC1QCQQQSCOhFQC4ikRvs8scrAA4Rg3H4Gpgu0D98JRgHd5ZQ/ip6UAbFnJ59pDbsI2uLi4Ox3wCmwA7h6sO3fn0BqrPDY+c5+2uTuPAiPrUmkMjQXUU6s0Kx+cAv3lZehX0NQarGY7wq+3zdimXb0345oAafsKnG25f3BVafE1idy4niBXG4kNj8AKqU5fuv9P6igCd7VS3+j3Ecy/XafyNVby0yhiuoGCnswI/EUtPjmmj+5K4Hpnj8qAMfU7P8AcDddXTxmaPMbScfeHGev61Z0natqY423QRuUhP8AsDoPoOQPYVY1O4DW6ebBE/76PJA2k/MO4q75dq8LyqZIQpCgHDAn9KAK1FTi2L/6maKQ+m7af1xUckMsfMkbqPUjigBug21vf+LDHeKrpZ2omhifkO7MQXx32gY/4HXcVwdrBdf27a3tnJAJ41aNVmB2sG6jI6Z45weQK6C4XxHKpuH1DTtJiQZKeT5/Hcs5KgfgPxoA3KKx/C2pXGowXXntHOsE3lx3UcZjS4XAO4KfTOOCQcZFbFABRRTJ5o4IzJM6og7n/PNAD6w9ZBk1V7dSwa4sfJUr1G6QAkfQZP4VdP8AaN0BJDKlnH/Crxb3YdieRt+nX+Qz5lu18XQTTQrcLHYsAIBhstIBnDHsPfuaAN9QFUKvQDAoqq93LkBNPu3JOM/IAPrlqR/t0xCqq2q/xOSHY+wHQfU/lQAX07lvslqT9ofG5l/5Yqf4z2+g71YhjSGFIoxhEGAM5pLaCO3j2Rg8nLMxyzH1J7mpKACiiigAooooAKKKKAMO70/UL1FksdXnsDFNNlUVSsh83PzZHTAI4x96p9Ds9XtJJG1TVlvlZFCgxhdrAnJ4A4ORx7fnd0//AFL/APXeX/0Y1Q63pNlrNl9jv42eHeHwrYOR7/QkfQ0AX8GqkO9tVucxlVSKNQ2PvfeJ/nWPN4O0mWFYjNqKgY5S7ZSQBjHHbmm6Z4a06z1uWaNr0PG0UyE3JIbAcYI7gEng+1AHSDkcc/Siufs/CGj2tultD9qEEZysXnEKDknOBj1rfjURxrGuSFUKMnJ4oAWqmWg1TG0+XdL1zwJFHT8V/wDQat1U1jctg8kePNjKvGD0LAjAP1PH40AW6KBnHPBooAr6j/x5v/vL/wChCrJ61W1H/jzf/eX/ANCFWT1oASiiigAooooAKKKKACiiigAqjc/8hyy/64zf+y1eqjc/8hyy/wCuM3/stAF6iiigArnvEN7M072Y+SNcZ9W/+tXQnp61y2vTw3F2skO/cF2uGXGCDQBTR/8ARnRvuKwkY91/h/Hlhx7VHU9sqtDMpl8t32IhHXJYdPy/WkS2kYFnAiTu0nH5dz+FADphnT7ZvRnX+R/rVerhWKSwaKGRnaJvMOVxkEYOPpxVOgAqe0kVSYZv9S/3v9k9mHuKgpUVpHCIpZicADqaAIkiaG5u426ibqOhG1cGr6RJbRCa4UNKf9XEfT+83t7Uthsjae3Zo3u1mPlsRlUO1flz3P6A1VkZ2kZpCxfPzFuuaACaWSaQySMWY96tafMf+PdigPPkuwB2N+PrVOigB0xkMrecWMmfm3dc02rR/wBLi3Dm4jHzf9NFHf6iqlACqSrBlJBByCO1W9RLNp8up20SyzhCkkOdpdj6HtnAP4VUqazuBbyHeN0TjbIvqP8AGgCrbSia3jmUYDqDj09qkqK6tU0/WFjjP7q4iZ1I+65BGCB64Jz9KloAiu0aSznVRkmJ/wD0E1O8iybSihECgKB6Umpf6PpNwuf3ssDFv9lcHj8ajh/1Sf7o/lQA+s3Uo3a+hUMVhmQrcHIACryPzyR9DWlUEVrDcat517GJLa2hDKpH35GYjHvwtAC+IWWPwheJGR++sZpTj+75bbR9Mc/jXEV2XiWRpdE1WRzlms5if+/bVxtAHonhRPEDRasbG50pLf8AtvUNqzwSM4/0mTOSGA65rY8vxZ/z+aF/4DS//F1F4G/48NU/7Dmo/wDpVJW/QB8M/th+EPiF4q+L1xcWPhy+1iHTtLgWSfTbGVolHzNgdct83IBz7V9C+E4PFKeENCaSXTIWfTLdtkttKHXMa5DDdwQcg/SvYsmsXxRBugjuB1Q7W+hoj7sXH+uv+YS96XN/XT/I4ny/Ev8Az9aP/wCA8n/xVPiXxLskX7Vo3zL/AM+8vUH/AHq06kt0eSXC44GWJ6AdyaAMXy/Ev/P1o/8A4Dyf/FUeX4l/5+tH/wDAeT/4qtyY2zNiJZEUHgk5yP6VEy7WxkH3oAyPL8S/8/Wj/wDgPJ/8VVmFfE81o1oLzRxglwvkS4fI5H3/AEFXa0NJ0+6uJ45UBiRWDCRh/L1oA4fRLHWf7NtpI/7CB2Agm0fd+e6tCSHxFIhWS40V1PUNbSEf+hV0Ol/2TBpduGhkml25YK2FHPSra3OjZ3GxlB7LuyP50AcpHpXiS+byYn0ctggMlvIpQH0bdxVu8t9dtwsMd9ok8i4DubaYjp7SDmtm71F5FMVvGttCeqJxn6mqVAEMUmurBNHDdaDD5sZRt9vOT09d5xTrm28TXuLhZdGjllLfdjdldh1AO/I9sgVJWhdR+RZRwkqjJ8zHPzOzAfKB2AGCT64oA5lovEysVa50gEHBBt5eP/HqcqeJfLf/AErRucD/AI95f/iq3BKk6Fbg4k42y/0b1+tMkhkijO9cBiMHsfcGgDE8vxL/AM/Wj/8AgPJ/8VR5fiX/AJ+tH/8AAeT/AOKrWooAwNSj8SeQm650g/vo8Ygk67h/tVoXkfiVGW3+16MRFwcW8vLHr/F+H4VPe8LAf+niL/0MVdvBi7mH/TRv50AYnl+Jf+frR/8AwHk/+KpyHxUgxHfaUoPYQyj/ANnrUAJIUAknoBVu2ttlzH9okiiAcFg7jOM+lAGVNN4phleJLjQSFIGTZuTkd87s1Zvf+Eu1wwaS8+jJaTw+dcSfZpcMFcfux8/cjn2rV1bTZ0uHnhTzIXO4Fe2aXRLgw6rbafNlJGSZ1RuCR8nQenBoAteX4s/5/NC/8Bpf/i6PL8Wf8/mhf+A0v/xdbQ6VUuZHmuBZwMy4w00itgop6Ae5/lQBizN4wml+z2t7ooIfbLMLSQrHxnu/J6DvjNPttP8AEtvGqLd6K+xmZWlhmdgT1wS+a34Io4YhHGCFHqSST3JJ6mn0AYvl+LP+fzQv/AaX/wCLqh5fir/hIx/peibvsZ5+zy4xvH+3XU1n/wDMzD/rxP8A6MFAFXy/Fn/P5oX/AIDS/wDxdHl+LP8An80L/wABpf8A4utqigDF8vxZ/wA/mhf+A0v/AMXR5fiz/n80L/wGl/8Ai62qKAMXy/Fn/P5oX/gNL/8AF0eX4s/5/NC/8Bpf/i62qKAMXy/Fn/P5oX/gNL/8XR5fiz/n80L/AMBpf/i62qKAMXy/Fn/P5oX/AIDS/wDxdHl+LP8An80L/wABpf8A4utqigDnbCPxX5L4vND/ANdL1tpf77f7dWPL8Wf8/mhf+A0v/wAXWlp/+pf/AK7y/wDoxqsUAYvl+LP+fzQv/AaX/wCLqreR+LLdjereaIdqhZFFtLyuev3+2SfeukqG+ha4sbi3UgNLE6AnoCQR/WgDL8vxZ/z+aF/4DS//ABdHl+LP+fzQv/AaX/4utSwYPY27jgGJT+gqagDF8vxZ/wA/mhf+A0v/AMXVbU4fFj2hhN7oYEzLGSLaXIBOMj5+tdHVS7bzLmC2jGWV1lc9lUH+ZIwPx9KAKHl+LP8An80L/wABpf8A4ujy/Fn/AD+aF/4DS/8AxdbVFAHPahH4r+yNm80PGV6W0v8AeH+3Vgx+LM/8fmhf+A0v/wAXWjqP/Hm/+8v/AKEKsnrQBieX4s/5/NC/8Bpf/i6PL8Wf8/mhf+A0v/xdbVFAGL5fiz/n80L/AMBpf/i6PL8Wf8/mhf8AgNL/APF1tUUAYvl+LP8An80L/wABpf8A4ujy/Fn/AD+aF/4DS/8AxdbVFAGL5fiz/n80L/wGl/8Ai6PL8Wf8/mhf+A0v/wAXW1RQBi+X4s/5/NC/8Bpf/i6pXEfir+2rPN5om7ypcf6NLj+H/brp6o3P/Icsv+uM3/stAFPy/Fn/AD+aF/4DS/8AxdHl+LP+fzQv/AaX/wCLraooAxfL8Wf8/mhf+A0v/wAXWbq+keKLn9+t5oayAfNi2l+Yf99V1lFAHnDQa5GAf7R0iVs8qLOXB/N6jmi8TEb/ALZpJGTtzbSjC54x83I7fXiup8Q2JilN1Eo8tz8wHZv/AK9ZscgEYEi71Rt2PQEYJ/VSf93NAGPD/wAJPDKsi3WjZB6G3lwfY/NT7u38SRyBlutH8uQb0P2eXp6fe7dK0CCuM1fsoTc2LxyZVI23o+M/7yj145/CgDn7e08UTEkXejKi/fdoJcKP++qsxf8ACRfZriG3udGVkXeJPs8odgDz/HwMdqvXM/mYjjXy4FPyJ/U+pp+mMFvY1b7r5RvoRigDmbWPxJvuMXWkf63n9xJ/dX/arQSLxPeKQLrRjOi5H+jy5kH/AH11/nU9urJNdIwwyzkEe+1a1vDozqsfsrfyoA5ny/Ev/P1o/wD4Dy//ABVHl+Jf+frR/wDwHk/+KrrfEFh5Mn2qFAIm++B/Cf8A69ZFAGUq+JlYMt5pAI6EQS8f+PVekk8UzW5ljm8PgpgSKLJ8/wC997/9VT0+CRoZRIvbqOxHcUAZLHxQx/4/NHH0t5B/7NQreK1Hy6hpY/7ZS/8Axdbz2hkfzLfAt2BYMxwEHoT6ij7H5SrPO6NATwUbJc+g/wAaAMp4PEU0EdvfahpG5nWWMmCUmM9iTv6H09KYtr4ot2eSabRgY2wFa3lwzf8AfXI71pO0l1dfKuXchVX9AKvXUtvOBYs4zCoWKYnjd3B9j60AcjqC+JmtLlpLvSGzG5Y+RJk8H/ap8UfiXyk/0rR/uj/l3k9P96tPVI3itLqORSrCJ8g/Q1LZxvMIo4xlmAx+VAGdbWviWVmLXmjJGgy7m3l49vvdTVYN4muLu4k+1aQoRhEifZ5NqqBkY+br8xya6O8kQKttC2Yk+8R0d+7f4VR8OIt1JcLLIB5U8jXGeCq7jt491Ax60AZmrw+Irfw3qFzPcaO3mWc4RPs8mdvltlh835VzXy+9dr4snNxo+qyYwv2KYIv91RG2BXFUAer+Bv8Ajw1T/sOaj/6VSVs3UzxhFij8ySQ7VBOAOM5PtWN4G/48NU/7Dmo/+lUlb9ADIVdIgskhkbu2MZpLqFbi2khbo6kVJRQBxr23kti5cIR/AvzN/wDW/GmPNlDHGvlxnqAeT9T3rR8S23lXazqPllHP+8KyqACngb1GMbgMY9aZRQBrWE+k28KtLE7z4+bcucH27VM+rTTNJNFmOCEcDuzHgZ/nj2rFEh6N8w4znrj29KmuGRVS3h3FAdxY/wAZPf6UAZeiEtpNszHJKZJ/GrlUtD/5BFr/ANc6u0AFFFFAE1jGslyvmf6tQXf/AHVGT/Ki9ZnuGZiCzfO2OmWGcD6DA/Cn6dH5sk0YYKWt5VDE8DKnmorsYuGxnBwwB7ZGcfrQBHU6TtDEsfEiMCWjbp/9Y8dfeoB1xTpD859BwPwoAlkhVkMtuSyD7yn7yf4j3qCmuu5GUO6bgRuRirD6EcionkeFsykNDgDdjlMevqPfr6560AStbtcyQRLx+/jJPoA4rY1mxgt7syvcbUky2wDLZ74/+vWXdzyWemwzQ7VkkuUwxGflDL0/E0+6uJrmUyTOWb9B9KAHNcbflt08lfUHLH6n/CoKKKAJBPN5Pkea/lZ+7niqttc6TqF55moXMipbM0DSSvLbFcfe2M23coxyVyMdetLd3C2tnNdNC8wiTdsTqeRnHB6Ak/hXP3dxY6nc2NvfaFK1xAZHkjVsouW2yAtt6Eq2G7gD+9wAddootZdTt4fC17ef2ajSi8fezwgqSu2MuD828H7vGAa6y2git4vLiXAzkknJY9ySeprnfBesQ326zs9Du9Pt4zK7NONvzGQ9sckkkn0966agAooooA5yD/hKrXU2uNQntbjTULEx20JMzAjCgD1yQT7A1gal8QtJ0/xVeRXVjqXmWqSQYit2lDhHBZ8qCBx0B5PavQqzGjjbxJho0INk2QVHPzgfyoAwJ/iV4Zhill26pKsSK7eTYvJ97oBtyCccnGcAGtLR/F2l6pqcOn28GopNNE0yebaMq7Fxnc3RTzwDzW3bWttbW629tbwwwou1Y44wqgegA4xUm1QQdoBHTjpQAtFNmjWWJ4mztdSpwcHn0qDTpmkt9kjZnhPly8YOR3x7jn8aALPfHeiqd5H5moWTKdrIzuWBwWUKRt9xlgefTPXFXKAKs07rqltbj7kkMrt9VKY/9CNWqqXG1tTtVUZkjV2Y/wB1CMfqwH/fJq3QAUU1ZEaV4lYF0ALD0z0/kadQBX0//Uv/ANd5f/RjVYqvp/8AqX/67y/+jGqxQAUyeZIIXmkOFQbjT6p3WJdQt7ZmwoUz7cffKkDH0BYH8qAJrFGisYI3zuWNVOfUCpqKKACqb861FszkQN5uM4AyNue397H41LfyvBZTTRgF0Qlc9M9s0+2gS3TauSx5Ziclj7n/ADgcUASUUUUAV9R/483/AN5f/QhVk9araj/x5v8A7y/+hCrJ60AJRRRQAUUUUAFFFBzg4OD60AQX8zQWxdNvmFlVA3QksAB+tT1m3UbW91ZzyzySRiTZJuA5dgFRsdh1HH97NaVABVG5/wCQ5Zf9cZv/AGWr1Ubn/kOWX/XGb/2WgC9RRRQAjhipCttbHBxnFJECI1BfzDjluOffinVDGVS5ljBwu1XxjAXOR/SgCSWNZYmjcAqwwRXK3r/ZHezt1aPbw7n7z/4D2rrKxfE1ruiW7RfmX5Xx6djQBk222TmVSwU/Mo43Z6HjvkDn0J9qa13K0ySrhPLP7tF+6o9KjhkMUgbaGwQcHODg5/pU+oFXk81VVA4VgFXAGQcr+HHP+0O+aAGXkarIJI/9VKNye3qPwNQAkEEdR0qxaYmRrVurcxn0f0/Hp+VVzwcHg0ALcYa+uplHyyyCT8Si5/XNWNLuBa30czfdBw30NQWR860u48fPBOXX12lVyPwPNNoA6jXpPLskmXDDzACOzKQciuduolXbLFkwyfdJ7Hup9xSyXc8lqlsz5iQ5ApLSUo5QoZI34ZB39x70AQ0AEkAAknoBV6XS7hXONqxYyryMFBH496WRIrGJHSQTTyDKuv3EHTI9TQAqeTZo1vOvnyORuj3YVD7kd6n1mGEXQjlDwDaPKcfMhHpjt+FVNGg+0ajGrDcqne34f/Xrf1fT/t0abZNjpnGRwaAMezgW3jmcyo05jbyfLbdjA5NZdWLE+VqEW/gB9rfToailRo5XjYYZWKn8KAC7mjl0u4huiflhby5MZK8Hg+o/lVhv9CtVt1IM0kamRx0CkcKD/M1nX/8Ax4XH/XJ/5Gr1huuIY7NozI/l7o8EAqccDkjg+n40AVmZVGWYKPeodZvBBJbi3tJvLgbFxIyqNwOAWznOF9PrVuB2t0GAhuC255Bzt/2VPYcDOOtT3MUN9bvIkal9p8+HHDDuQPT1FAGD4juraPRdSheZFk+xTfLnnmNsVy1ddriqmgapsULmzmJwOv7s1yNAHq/gb/jw1T/sOaj/AOlUlb9YHgb/AI8NU/7Dmo/+lUlb9ABRRRQBR123NxpzhRlk+cfh1/SuUrua47Urf7LeyQ44Byv0PSgCvRRRQAU9fnUL/EvT3FMpYyRIpHBBFAFHQ/8AkEWv/XOrtVNHAXTIFHQLx+Zq3QAUUUUAW7MbbS5k65KRgf3suCw+m0GqsjNJI0jcliSa09LcLo98MgNxjPfI/wD11l0AOj+XL+nT602ny/LiP+71+vemUAFA60UUAVNdR7WNLeMvJbxzIApPzJ8wzt9s9B71aMltuC/aolLZ2h1ZM/8AfQFN1ZTPp8cirl45YlfHcbhg/wBPyp9AB2B4IIyCDkEetJPmODzGZYwfus/Qn2HU/hTEWSM4hmMaf3ditt5ydpI4z/8AqweaURqJDIcvIerudzfmaAKVxBNIySLfXDzxkmNIYmiizjH7zd94fTNbXw9mihlu7G4ZE1J9szjp5i85K/3lBz9AQDVWq97A8ypJbymC7hO+3nUcxt/UHoR0IoA9BorL8N6xDq9gr5RLuP5LqDPzROOox6HqD3BFalABRRRQAVn/APMzD/rxP/owVoVn/wDMzD/rxP8A6MFAFnUm26dcnJB8l8H0ODipLdWS3iR/vqihue4HNV9WbFi8SgtJMREijuT/AEAyT7A1cPWgBKp337i4hvFXuIZMDkqzAD8mI/M1crP1PfczxWdvsLq4klLDIjA+6T6nOCB7ZoAlTEuryN82LeIJjtufk/oB+dW6jt4I7ePZGDycsx5LHuSe5qSgCnYqRe37NgsZVwe+3y1wPpnd+tXKpQ/8h24CuTm2jLLj7pDPg59+fyqxcXNvbKWuJ44gOu5gKAK2n/vL6+ulPyM6wge8eQx/MkfhV6q2mK4s1eSMxvIzSMpHKliTg+/NWaAK+n/6l/8ArvL/AOjGqxVfT/8AUv8A9d5f/RjVYoAKpXcgh1Oydhnzd8A45BI3Z/8AHP5VcZgqlj0Ayaq2ERdUvLhi88igjIwIwR91R/M9T+lAFuiisvxLcXENikNqxjluZBF5o6RKerE9vr70AWLn/Sb2O1VgUi/ezjGcn+FT+PP4D1q5Udrbw2sKwwoFUfmT6k9z7mpKACqcFwJtRkVJAY402gD+Js/Mfw4H1z71Hq90yGO0h3ebN/cxux6D0JweewBPao7Gz1GDzH3WCs2FRVjYiNB0XOee5zxkmgC5qP8Ax5v/ALy/+hCrJ61W1D/jzb6p/wChCpLueO2haaTO0EAAdWJOAB6kk4oAkoqiV1aRgwltLdD/AAGNnYfU5A/Snebd2x/0lftER/5aQxncv1Tkn6j8qAKfiM+JA1sfD62LAB/PW5OMn5doH/j2fwqnbTeMiDbXFtpqzG3DLcJuMYk3KCpGc9N3T9K3Le9tbhykU6GQdUJww+qnkVYoA5zSJvGwntY9VstGMPAuJoZmDe5Ven+fxro6KKAKmsLI2l3AhUvJtyqgZJIIP9Knt54biISwyLIh7jsfQ+hqSql1Ekd5b3Ea7JHk2OV/jUqevr0HNAFuqNz/AMhyy/64zf8AstXqo3P/ACHLL/rjN/7LQBeooooAKbMFaF1fO0qQeM8U6o7gO0REYy2RjnFADbNnMKLLuEmDwwAbGcAnHtinzxrNC8TfddSppsKyGQyyIiHG0AHJxk9fwx+tS0AclJ5FncMgiM0qEgmUYXP+73qK5kaf96VUeu3seM8du2P/AK1WNbjZtXmVFLEkHAGe1QtbzRQFpyIkHO0kbj05A6nGOnue9AFYEggjgjpVi+xIVukGFl+8PR+4/r+NJbGx8sNPJMXOcRKm0kDvk9un0zzVj7fFFGY7WzjVScnzTvOfXnigCloazfbZpIoHlAnIYAcEbVyKuT6d5MrCS6gjQMQMtliPoKg+03M1vJL57BfPKOqnaAdq44HqP5VXoAvIumJIqs88+WAJwEUD19amvb6a3lltbeKK2CkrlBhseuay61oFWbUbCd0DLKuGB5BZQR/hQBlyO8jbpHZ29WOasH95pqkdYZCD/ut/9cVLrNmltcFoXVomYjCnOw/3TUWn/NI9v2mQqPr1H6igC54XP+nv7xn+YrpR1rn/AAwI0FxcSMq4wuScYHU0t5rzEvHbwjbyA7Hn64oAx5ji4kZTkByQfxqbVMfbpHX7smHH0IzVart5D5umw3CyBJXQwx5xjeAxyc9AAM/40AZd+jyWU8cYYs0bAYGcDByfy/pV7TZE0+3ghgleVhsMs7tuZsds9T7nvVbUXSPS54Yef3DB5T96T5fXqB7UkX+pT/dH8qALN/H5V7NH2DnH07VHDI8MqyxnDKcg1Y1H5mgm/wCekKk/UcH+VVaAG+KYlm8MavfWygIljO00fdP3bZI9RXC4rq/FF09p4W1dkwfMsZoSD0O9Coz9CQa5Tj3oA9W8Df8AHhqn/Yc1H/0qkrfrA8Df8eGqf9hzUf8A0qkrfoAKKKKACsjxHZtNHHPGoLKdrcgcetXUaRtWmTefLSBCE7ZZm5/8dqW7hFxayQn+NSPx7UAcli2iHzZnfuFOFH49TQVtZBuWVoT3VwWH4EVAylWKtwQcGigCby4M83PHtGaesdlkbrmY89oh/jVagdRQBBpixDRbFomdsxYO5cdDU9P8J2DXvhqNo2/eRgbFPQ+tEsMsLbZY3Q/7QxQAyioDZrJKWieaOQnJMbkfmDx+lSxxy28O+4kSdM48xTjZ6bx/UcfSgC9ZwtLbnDFDuYrk4DkRtx78En8KrBhH9w5f+96fT/Gr43W9sd68iUFXLAKcZVgo645IzgVmDpQBcvwJoo71QB5h2ygDo47/AIjmqlbPhlGkaZXVWhwDhhkbv/1VL4ka1SBYlSPz8jG0DKigDBooooAraizJAjIxVvOj5BwfvCr9xh1WZVC5+VgBgBh/iP61nap/x7J/12j/APQhWjbfOWgOPn+77MOn+H40AQ0UUUAFFFFAEVqgHijR2hKxXDzsGkC8tGI2LIfUHj6de1d9Xn0l1Hp2q6bqc4/cQT7JTjOxZBs3ewBIz7Zro9Q8U2VveNa2tvcahJHjzWtyuxMjIBYkAnHYZoA3qKytN8Q6VfIMXAgm3bGgn+SRW44I/Ecjjmue+JPjafw9c2Oi6HZQ6nr1+xEdu8m1YUA5kfHQflUTmoR5pHRhcNUxVVUqSu38ttW23oklq29jr7m8tLYgXN1BCSMgSSBcj8awbbxFod14nK2uqW1y62ZUpC+9t3mDgAd/avM18D3WtyPqfjHW9RutTlYkra3bJDCnaNR6flVf4ceGLCX4wzf2LbzadZaDH/pLNcM73UzYK8MThec+/PrXO69Tmj7ujffX+vmexDK8E6VV+3vKEb6R92+1rtpu7aSaj57ant9pFMxFzd/64j5Yx0iHoPU46n+lWqKK6z58KqaWWaKaRlA33EhU/wB5dxAP5Cpru4hs7WW6uH2RRKWdvQCvLtJ+M/h2KyT7bpusxQhmAuxaFopBuPz5HTPP0rOpVhTtzux2YXL8VjE3h6blbeyvvt+R6sSACScAdSa5SX4ieDv7VGkWuv2FzqLuI0iSTKlyQAC/3e/rXH6944j8d6jaeGPB+ozQadMC+sakilWig/55oezNyPWs74keFfA/h/wrpbaBpcEN5Dq1oq3YDGYAyjczOfvfj61zVMTKzlSs0t3/AJHtYPJaKnGjjnKNSfwxSV12c76pN7JK7Wva/r1pp7KZZL2f7VLNw/ybUwOgC89Md89T61ZhtreFi0NvFGx6lUANTyffb6mm12nzIUUUUAV9P/1L/wDXeX/0Y1WKr6f/AKl/+u8v/oxqdeTNDEPLUPK7BI1PQsfX2HJP0oAr6kxuJU01VJ8wB5j2EQYZH1bp+dXqgtbcxySTSuJJpMbmAwAB0UDJwOv4k1PQAVFd20F3CYbiNZEOeCM44xke/NS1WsrgzT3kR6wTbPwKqR/OgBulSH7MbeRmM1ufLk3EZ9QePUEGrTMqqWZgqgZJJwAKrXNs3m/arXalzjBz92Uf3W/oe36VVlmkvLoaXND5JK+ZN82Q8YPRTxnJ6+gz6igBLFjNetdpbHfLIR5zxEbYQMKFPfJ5/GtKZmVRtzuYgDAzj3qrbyFpJZmcIHcw26E4U7e4+pz+AFJZfaQJUmuVaRVGPlyq8dzxnoe/T60AS6gWFtLuA2ApjB5+8M02xQzxx3k+5pJFDKpPyoOSMDscHr1qnfM99YlI5N1p8oeYcGb5hwv+z6n8B61rhQoCqAAOAB2FABUd28sdpNJDH5kqxsyJ/eYDgVJRQB5pPr+nSSfar6/cyQzmFGdchXyCdgBJXlh6HA9q6vwfrVvfxzWYvPtFxDI/UHIXg4J9Ru/lXPa3b+RrN7bQaRbvGLjzgXwAQyKcj33Bx+Q7Vr+B7GMT3V+YY4pi2x/KXCMxC5Oc5JwFB7UAdVRRRQAVX1BHa1LRIXkjIkRRwSVOcD6jI/GrFFADIJY5oUmibcjqGU+xqpc/8hyy/wCuM3/stFpJ9muBYShVLF3gYHh1yTj6jPT0FFz/AMhyy/64zf8AstAF6iiigAooooAKKKKAOa1+aaPU5FSV1UquQrEDpWX3rT8SjGp59Y1rMoAftAhLlhkkADHbnP06D/IFMoVWLHB+XHIOeCPT9f096KAH6FG09xeWw6SO2M9iEUg/59aYeDg9aXRWZZ7+RSQV3kH0O1RU18v70TKAEmG8Y7HuPzzQBBWjpMo2KG/5YTLKPXBOG/pWdVrSiPtgjb7soMZ9ien64oASbTp7O41FniKwmTcsmABIWcsMe4DEGqykqQykgjoR2q7qWoT3YSOVQnl8EDufWqVAFi7XzI1ulAw5xIB2f/6/X86r1PZupLW8jBY5eMn+Fux/z60z7PP5jRiFyynBAUnBoAjqyQJdKAYBjBPuXP8ADuUjP9PxpPsV1jLQMg9Xwv8AOpYYGW3uUZ4smMMFDgnKnPb2zQBl3/8Ax4XH/XJ/5GpbdWaONVBJIAAHemXiNJZzoilmMT4A/wB01cheO1hQRMHn2jMg6Jx/D7+/5UAWLmErpaBmVpIZSrAHO0MM4/MGqFWrP57a7iJOSgkH1U/4E1VoAyPGgjbwjqyyIHDWcoCk4y204/XBrm93v+ldZ4sgVfCt1PI33opRGuM5xG2Sfb+tcjQB6v4G/wCPDVP+w5qP/pVJW/WB4G/48NU/7Dmo/wDpVJW/QAUEgAliABySe1FZOrX8DXaaWJJCzAtN5akkKP4cjoW/lmgC3po8xGvm5a5AYeyfwj8iT9Sat1U0+6kuGdTYXFrGgAUzALu9gB2FW6AOY8R2/k3/AJijCyjd+Pes2uq163E2nO23Lx/OvH5/pXK0AFKoPBwcZ64oUgMCwyAeR61oXuqNcQC2igSGHI+UUAUPBN41tp9vHnCyxbc+jc4NDtJvbezb8/Nk85qhof8AyCLX/rnWnc/MI5u7j5v94df6H8aAIizMMMzEe5qzpOf7RhAx8zbcHocjofaqtOido5UkXqrBhQAs3SJQGCLEoUMMEcZOR65zn3plXdQa3aITSTLEnOyU/cJLEhG/utz9CPSodPjWW7jVvuA7m+g5P8qAOh0BFisdnAbO5+e5Gf5YrF1u5jub4tEq7VG0MB973qrLM8k0ku4guTnB7elR0AFFFFAFTVP+PZP+u0f/AKEKuKxVgw6g5FU9U/49k/67R/8AoQq3QBJcgCdtowp+ZR7HkVHUsvzQRPznBQn6dP0P6VFQAUUUUAIQGBVgCDwQe9R28EFvH5dvDHCmc7UUKM/QVJU0VrcTf6qCR/otAGfdWSzF3jlkikZccHKk4x8y9DXIfC21jlm1PVNSlln8RLcPa3pl/wCWIVjtVP8AZIwc969DfT79VLfY5TgZxiuF+FsUl3pt34oumX7VrU5leNOFiVMoq/XA5Nc1VXrQ+f8Aw/r/AJs9rAy5MuxL2vyK/Vttvl/wtJt+cYnYjk4ritVtfEvhX4g3+t+F2S/F7bq19YsACxTC5QnrggccZ5rtQcEEdRVe9BbxSJlU7ZbMuPxcZH51rUpqaWtmjhwWNlhJStFSjJWaezV07d1qk00010Z0HgXxZp3izRob+03QysP3lvIMMjDhh74II9u9dDXjOoeD7iO8ub7w54gvtGuZ3d2jU74A7fedUyNrH1Bq1NpvjrW1h07WfGiwWYzGx022MM0oYY+ZiT/I1kqlRK0oXfla35nbUwWCqTdSjiFGD6SUuZeWkWnbvfXyI/iHr9z4y8QjwX4fvDDp0SGTVbyMZO3sinpk84/OugsLS3sNPgsLWMR20EYjjTsFA4qn4b0jT9E0uOx0+18hU4lyBvaQcMWP8RyDzWnV0qbTc57v8PIxx2MpzhHD4dWpx77yfWT8+iV3yrTu2yOKKLPlxom45O1QMn8KpeItJttc0S60m7yIrhNu4dUPUMPcEA1oUVpKKknF7HDTrVKVRVYO0k00/NbEHwi8YRahoo0DXLxIfEOkj7PdRzkI0qrwsi5+8CMZPr9aXxd47vBra+HfBkenalqKxedd3E8xNvarnADbOSx9B0qpqWg6Jqc4uNS0ewvJlG0ST26uwHpkiptM03TtMiaHTbC1s42OSsESoCffFYKnV5VDm079f68z154zL/ayxCpNyeqi7cib32d2l0jZdE20tYk8deNbdR9t8Bw3GwfO9nqancO5VWGc+xrq/BXizR/Fuli90yVkkDMk1rNhZ4HU4KuueP5Vl28arGbiUZVThV/vt/gO9c14m8N2mpC4vrFE03Wj+8hv7VBHKrjoCw5K9iPSm41YaxfN5O34WX5mca+BxXuVKapO696PM1580ZSennG1uzPTrAgW8hJAAmlJJ7fO1R25+2Xcd4q4hjR1iJHLliMsPQfLgeuT268Z8MfFM/i7w59kv4Ra6rFcyw6lEONpB3EgdRu3AD8a76SRIo2kkYIijLE9AK1hNTipR2Z5+Kw1TC1pUaqtKLs/67dn1HUVV0zzGthcTeYJJv3hR+qA9Fx2wMfjmrVWc5HceY0bRwzJFMRlSy7se+3IyKylmvrPUbqWTT2lilClnt+csBjdg+2BwT933q7qDNC8d20UcscRG4bMvGD1YH+Y9KZZn7JJHamd5oJFLQSyOWbPUqWP3uuR7A+lAD9L1K11GESQNIjc5imjaORcHByrAH8elVvFO1dJaYrIXjYFTGdrjnnae2Rx+NXb+EywiSMAzw5eE/7WOn0PQ1XSdL29tdrDyhD9oUDqzZ28/TJ49celAHn8EwhEavJr8sG3yoIBDtVVAzj5TzwfvYB5rtPDy/btLX7RJcPHHIY/LdAgfbwCw5J98nnuO1buT60lAFfUOLJgBgApj/voU66uoLdSzyL3wARnjr9Pqao+LPtK6DcS2cby3MZR4o1fb5jBh8pODwfpWZq3gTQNU8v7Yl0XS4FwzRzFDK3m+bh8feUt1HegDUXVv34V7crGQCDu+fnplccfn6etaMUiSxLLGwdGGVYd65fUPh/4dvtS/tC4W+87bCuFumVcRABRj/gK59cCrdno8Ph6W6utNadobmRXmhklZkQhFUbB0UYUZx3JPc0AHjCAqLe/VRsjzHMwHIU4wT7Aj8NxNWvCsDQ6Ort1ndpumMAnj9AD+NXiIr6yZMsI5kKtg4IzwR7GiwdpLKFnwX2ANgY5HB/WgCeiiigAooooAgv4WntysbbZUIeNvRh0z7HofYmsx9Qt38Q2MMmYJykyeU45z8vQ9CD2Pf68VtVn3qJLrFnHIquhhlyrDIPKUAaFFVUsY11Fr4T3RZlC+UZiYgB6J0B96dp2fsgJdnzJIQWOTje2P0xQBYoopJHSONpJGVEUEszHAA9SaAFoqo+p6bGyq+oWilk3rmZRleOevTkfmKmiurWYL5NzBJu+7skBz9MUAYPikf6bE3rH/U1k1s+K/wDX25/2D/OsagBrzGExrgESuI+fcE/0p1J83mpsXc2TnjgLtOTS0AGl/wCq1M/7QH/oFWrZGubVoVKh4j5iljgbf4ufyNVNPOLbUPe4Uf8AjoP9KltpfJnWTqM4YeoPUflQA/7PGPvXkA9huP8ASlVbRCGM8zEHPyxgfzNRXEfkzvF12sQD6jtTKANC/azW4Mn2eV/NAkBMmAc/h65qt9ojH3LSAD/ayx/U05z5mmxt3hcp/wABPI/XNVqAJ/tk4+4Uj/3I1H9Kuagt41st757+U6oAAx6454+orMropbqystDtY7+YRR3AESsRxuYEigDnTyeefrVnTMfbY0bpJmM/8CGP61WIIODwR1pUYo6upwVIINAC6pKsWnXUFvkDynDyH7z8H8h7VFD/AKlP90fyqTxCu37dgYBR2GPdc/1qOH/VJ/uj+VAF3SGC6hErcq+UP0IxVZ1KOyN1UkGkVirBhwQcitC4hWbXFQD5ZnV/wIyf60AZvjqKP/hGZ7SRc7NNlZh/tFWYfqK4Su58Y3Dz6XrDb22fZZwozwBsauGoA9X8Df8AHhqn/Yc1H/0qkrfrmvBVuJLPVW864XOuajwshA/4+pO1bhteDi4uiccDzjQA25kknn+yW8hTbgzyL1QdlH+0f0H1FWLeGO3iEUKBEHYfzPqaoaVZgWSlri7EhZjLmXnfk7unHXI+gFWvsg/5+Lr/AL/GgCxRVf7IP+fi6/7/ABo+yD/n4uv+/wAaALBAYFSMgjBFcZfwfZryWHsrcfTtXV/ZB/z8XX/f41h+KNNAEd0s9z/cb96fw/rQBlUDqKg+zD/nvc/9/DQLYZH7+5/7+GgCHQ/+QRa/9c604R5kMkfG5fnX8Oo/Ln8KyNFsn/sO1mMl0EK4B8w4zVyKHy5FkE9zlTn/AFpoAlp8Ue4b3O2MHlsfoPU0Pp0cbmSS5ufIzlMSnLjsB/U1BLF5hH764VR91RKcAUAT3bGe2gjWESW8V3HLNbqRuljUNnGfvHdtOO4B+lSx3ENvaXFwyXMPmMIIzND5Yyx+vH44qh9mH/Pe5/7+GrF7Zp/Z9vbvNcMHDSMpkOCCcD9B+tADRyOKWs3+zDbgGxuJ0GctCZTsb1+h9/zozcAjda6iB/EROhx/49k0AaVFU7ZYriMvHcXeASpDOVIPoQal+zD/AJ73P/fw0AR6p/x7J/12j/8AQhVuo59Dubi2R/Mnjj86P55JCB94c1s6VoNvJILl57uSEf6rdIR5h/vY9PT16+lAFK3V5rWWJFLMpDgAZPof5ipItLv5Oluy+7/LXSJZRoNqTXCj0EpFL9kH/Pxdf9/jQBjQaDO3+umRB6L8xq9Dodmn3/Ml+rYH6Vb+yD/n4uv+/wAaPsg/5+Lr/v8AGgB0Npawj93bxr77eamqv9kH/Pxdf9/jVWW1v1l3Rzb4hn5TO6ufx6UAaWM8dc1458K8r4OjgbAeC7uomX+6RO/B/MV0PxL8Q32laXBpWl/bbfxBq0nkWKvOHEa/xzHBIwo9e5FUfD+g2ui6XHYWs90VUlndpSWkdjlnPuTzXPfmr6dE7/O3+R7HL7HK2p71JRcV5QUk36XlZd2n2Neqcc00XiEeXK6D7GfunH8YqX7MP+e9z/38NUDbj/hIVHn3H/Hmf+Wh/viug8c3xI1xE8cvzyKC6NjnjqCe/H8qgRSTuB2gfxelRW0AS4RvtFzwef3p6d6VYkWdGEtyY0cEL5p5GaAL2ookN3LtjGN/Q8DJVScDtyTVZtrLuUYx94f1qS+s1eHet1dOVJfeZT86O7EH6gggj2HY1SSAK2fPuSO48w8igCaioXtQrEfaLg+h8w9KT7MP+e9z/wB/DQBPUsESlfNmJWIHt1Y+g/zxUMViioJp57kIfuqJTl/8B70yWIyMC1xcAAYVRIcKPQUATzytK4YgKAMKo6KPQUyoPsw/573P/fw0yeJYYZJmnuSqKWIEh6AZoGk27IwvCsctv8YfK08Li/tGuL4Z27PKmZUbjqWDMuPx7V6kG+3zoy4NpE24N/z1cdMf7I9e5+nPnHwj0eOXwq3i2aaZtX8RyMFcO37qIuQsY9gAWP8A9avSo7SFIgsdzcCOMBQBNwoHb2rnw2sObvr9/wDVz1s6ajiFRvd04qDfdx0fyXwrukmW6KpxRwSl1ivp5ChwwW4ztPoak+yD/n4uv+/xroPIKuqeZDdJdKyQgLt87nAOeBIO6H16g/WoMx4a3kRo4WcCSI/etpCflZT/AHSeh7H8QJ7+3KKrLePt5Dxyz4Dg+/Y/pWHLEJE8tr0wRgbU33DSOsZ6owXgjjIO7j6igDoWuLu0BN3Gk0QwPNi4PXAyp/mD+AqHSbYPINTZwTMpaKNGysavgnnuTgH064rn7nUoZIYbOa8lu4nliSSdWYKQGydwIwc4IwD1NdLbC1uAPJvp29hOc/lQBeoqv9kH/Pxdf9/jR9kH/Pxdf9/jQAaj/wAeb/7y/wDoQqyetZ2oWo+yN/pF195f+Wx/vCrBtBn/AI+Lr/v8aALFFV/sg/5+Lr/v8aPsg/5+Lr/v8aAK0sMljIZ7Vd0J+/H6D2/zx9OluzeGSANb/cJJx6EnJz+dN+yD/n4uv+/xqlJpDRyNLZ3lzEzDBUynHX/PY/hQBq0VgXV79hDrdtdvImMrDI7MR2wAD/MU+HVNLlKquoXPmMMrF9oy5H+7nPr+VAG5RVKBbebHl3tyT/dMxDD8DzUv2Qf8/F1/3+NAFiqNz/yHLL/rjN/7LU32Qf8APxdf9/jVG4tR/bdkPtF1/qZf+Wp/2aANaq+m/wDHki/3Cyf98sR/Sj7Iv/Pxdf8Af41W0y1/0Yo090HSR1b98eTuPP45B/GgDRrN8TS3EeiXH2bTH1N3Ux/Zkk2FwRg/N2q19kH/AD8XX/f40fZB/wA/F1/3+NAHntrpd3Z3jTN4FS6lkjxK32pyMmOMsCzs24Erjp/Dz1p+n2LRahFqFv8ADu4tbtHEm5r37nzcgAHBPzNgdOvtnv8A7IP+fi6/7/Gj7IP+fi6/7/GgDL8Vr8ts3+8P5VhVs+KbQfZoW+0XPDnrKfSuf+zD/n4uf+/poAsoxUHAHKtnJ7cD/wBmH5U2o/sqojB5LsOVGwmQgbScn/0FaZ9mH/Pe5/7+GgCxacWF1/tXv8ox/jSVDFbAWjL59x81w7f60/3UFJ9mH/Pe5/7+GgC9c/vIIZv4seW/1HT9P5VBS2lsHjlt/PuTvXcv70/eXn+War/Zh/z8XP8A38NAGhYYkWe3P/LSMlf95eR/Wq1R28Xkzxyie5+Vgf8AWmnXliIbqSPz7nAb5f3h5Hb9KAHVt65b295oNmJLjyo0ZH4XcXAUgqPQ89e2K537MP8Anvc/9/DVhLfdpsim4uSEkUr+9PGQc/0oAJG3yM+MbmJx9aSoPsw/573P/fw0fZh/z3uf+/hoAs68M6b53Z7Qj8VBH9Kih/1Sf7o/lTdStw3h+Q+fc5iEi/609Cuf6GoorYeUn7+4+6P+Wh9KALVai31wmnQzQsu6ImJ8oDj0OevTisT7MP8Anvc/9/DVzS7ZJJXtXuLjbOu0fvTww5X9aAMzX/8AkAan/wBeU3/otq5Cup1+226FqeZrjIs5sgyH/nm1ctQB6v4G/wCPDVP+w5qP/pVJWtqFwIra4VHAmWBpFB9h1/OsnwN/x4ap/wBhzUf/AEqkrR1GOG4urOFkV5UlEo/2FHUn2PA+v0oAtwRiGFI85IHJ7se5PuTzT6KKACiiigArP1WJ7i4t7fJ8uRJd49wBtP51oVXuSBeWnI3FnGO+NuSf0H50AceEcv5YUls4xjmpgY4SoULJJ/ETyq+w9frV7X1NtdMsShEmG5mHVvUfSsodRQBF4aZptKghdi2+HC55wRkj/D8aupGsMQmmX5jjy4z39z7fzrL0FiulWjKcEICD+NXZHaRy7sWYnJJ70AK7tI2WJJ6D2HpTajniWaPy2Z1Gc5Vip/MVXtLJ7cxAXlxIkaBAjtkEAYoAuAFiFHUnAq1q7br91GNsYEYx7DFN08D7Usrfci/eN+HT9cVGkc1zMfLjZ3Y5IUZoAjoUFmCqCSegArYs9ClfDXUgjH91eT/9atq0s7e1XEMYU92PJP40AcoNKktnGoXbtb2rMqzjbkkEYDeo5wPpWqzwRw7NAt7LUroAt884CqPdwDjPYVuMqspVlDKeCCMg1DaWlvZwtFZ28cSli2xeAWNAHMHUNYvriTStQtbQGOaBriS1fdHEGOfJJY5LcDkDGDyBxnrq53RPn8NW903Mt1dLPMcAZkMnzYx2GMD2AroqACiiigAoorgvir4jvoHtfCfh2cx61qQ3STKMmzts4eX2PZfes6lRU48zOvBYSeLrKlF26tvZJatvySOj13xZ4Z0IyLq+vafaSRqWaN5h5mP90c59sVwupfFDxBfT+T4N8EX1+hPy3N8DbxkeuDjj0yRS6F4R8P6XEBDp8Ekmd0l1coJZnbuxZuST7VvPKdnlplU7+p+tZOFaa1ly+n+b/wAj0IYnLcLL93SdV95uy/8AAYu/3yOR0lNeutfl8W+L7K2jvmAtYbWOctFZQcZZSCQSzdea61Wi3ZMPy9wHNRsqspVgCpGCD0IqtYho7n7C2dvWBmPBXHK59v5VrSpqnGyPPxuMnjKvtJJLRJJbJLZLfT5+b1L9xDsO6Ml4T918fofQ1ln/AJGJf+vM/wDoYrWaYRo0MJ3Rn75I++f6Cs6KNJvE0aKxQtaEc8j745rQ5C5FwS5GQv8APtT42tzhZInX/aR/6GmSlclUOUB4Pr702gC9OIls08qZpE2Oo3LtO7ehxj6ZqjVi1RJ1WJzjY+4H0DDaT+HB+maHWzjON08pB5GAo/rQBCfmiz3Xj8KlVVgQPIoaU/dRhwB6n/CnQTRRzq8UOMA/fbd2/CmG6YtuEUCtnJOzJ/XNAETuztuZix9SacsEzfdhkb6KalN7ddpiv+6AP5VBNcOqNJLM+0cksxNAEws7k9Yiv+8Qv86ms7B5buKOTyCrOAymRTkZ5GB7VRrC8U6trGnX+i2ehy21td6hdmEXFxF5iRgIWxt7k4xUVJqEeZnTg8LPFVlSg0m76vZJJtv5JepY+CqWf/CNapp+oCJYrDWLu3hgcjbGu/OAPbP5V2l3e6QhDRWsU0ij5cR4A/GuD8HaZd6fHqlxqF7HeXmoahLdTvHF5aBj8vyrk4+7mt6s8NGUaUYyWx151Wp18fVq0pXUne+u733s977o021u6ACwxQQoOiqvFU5L28fcGuZSG6jecVBRW55YE55Y/iarxgz7pJADCwKoh6MpH3iP5fn3p94jSWk0aEhmQgEeuKfG4kjWRRgMAQPT2oAJFWRCkihlPYjikgRogR5jt8xIJPIz2zSTzJCgZ9xyQoCjJJ9KgaS6mwsMLW6k8ySYJA9lz1PvQBr22qXsBOJjIDjiT5h+FbenatFcRsZwIWXGTn5eelcfb20kUm9r25mHPyybMfoorQt/mtLlR1+VseoBOf5igDqb5layZlYMCVwQcj7wq0etcJJdXFtbsYZCoyuV7H5h2rrNL1KO9Uq2EmHVfX3FAF6iiigAqtfXLQgRQp5ty/8Aq4//AGY+gH/1qs0e9AFNbVojGftW1yxZn2gGVz/T29hzxUE8cGq6RcqbXazhxhkG7cOjD3zjBq0toGH79i7eZ5gIJAU+3t/9erI46cUAZVrb2t5bneVUGHaVQbTsIGGPv7/WnOLgSk2MryLDEsexjweffq3HU+uMilu7KEyRwRyyxK7FmQHcmOSeD05z09amNnKwyNSvAWHJUpg/QFSB+H/16AFsLxbjdG2BMpOQARnHf2+nb361T1G8ij120jjzPOIJcRR8tn5cZ/uj3NQ3uj2rvIqbpGCiRtxJPy8quc9OuB+ByCantzE2o6e0MSRBoZtyooUA5XPAoAnjvposrqNt5DnlPKLSq/qMgdfal0u4SSe8h2yI6Tb9siFSVYAggHqOo+oNXqrXMU5uUuLfyiyoUIkyOCQc5H06fyoAs0VVWa4ju44ZxGyyg7WjBGCOcEHPGO9WqACioPtlr9t+w+cv2nbu8vvip6AMrxQM6eh9JR/I1iBVtow8ihpz0jYZCj1I9faui112j05pFALKy4yM4OetclNJtVpJGz3JPJJ/xoAksma8juSZkM6XJVkaQA7dilTz9TUyWN00iqImOSBleQPxFW7jR7CHQUWRYodQVfO8xsbzKRkg46g8jHTH0rO0y4QyQXCnCE889OxB+nNACSkC7ukVWWKOXYmRjICrz+PWkpYJru3ubuI3EoZJyD85x91an+3Xf/Pw5+uKAIrcsLiMp97eMfXNLebBeTLHjaHbAH1q1bXl0oeZpjtToMDlj0/x/Cov7Qvv+fqT86AK4Rj0Vj9BVu6jmkt7eby3LbSjfKf4en6EUw6hfEc3c2P96poLq5SM3UtxKQDiNSx+Zv8AAUAVBb3H/PCX/vg1Ygt5/sdyphlH3CPkPPNQPc3LnLXExP8AvmmmaY/8tZP++jQA4WtyelvN/wB8Gl+yXX/PtL/3yaYpkkYJvY7jjrS3TiSd2XO3OFz6DgUASXNrcf2JqKPA65hLLkY5Gf6E0yGzufKT91/COpHpVO//AOPC4/65P/I1JD/qk/3R/KgC59gusbvLGPXeP8aFs7lWDL5akHIPnKMfrTbQeYstv/fXKj/aHI/TIqvQAvjiPbo+oTYUCawmY7SCN3ltnGK4Ku+1YfaPBusW/WSCznlT3HltuH9a4GgD1XwS23TdWYKzEa1qR2r1P+lScCtXSY8WxuG2mW5PmswOeDyFz3AHFZngX/jx1T/sOaj/AOlUlaumgpHLDklIpWVCRj5euPwzgewFAFqiiigAooooAKqWqma7mun6KTFEPQA/MfqSPyUVbqrpzFvtTbcL9pfYc8EYGSPxz+RoAreI7fzrHzFHzRHd+HeuZHUV3DKrKVYZBGCK4y6ha3u3gbqrYHuO1AGbof8AyCLX/rnV2o/Den3k+kWnl274MY+Y8D9a37bQGPNzOB/soP6mgDEqza2F3c4MULbf7zcCuohsbSLbst4wQOG2jNWKAMqx0eKOApcN5hZgWC8DjtWlDFHCmyKNUX0UYp4IIyCCPaigAooooAKbNgQuTuxtOdvXp296dRQBzvh6MR+CtHQYxtgPHuwP510VczpUscdnqMLMI1g1ZmCHhY4y4Ix2xwx+ua3bbULG6iilt7y3lSYZjKyA7x7etAFmikDKSVDAkdQD0paACvJY5VvvjL4lvoYJFtbe2hsZ2dhuadeflHULtI+pFetV43pNwNF8c+ItH1xjBqOoahJe2s0gwlzAQNoVj1KAYx2rmr/HC+1/0Z7WVp/V8U4K8uS1vLmi27eSXy3OsZifYDoKSqaXNxN81vaqYj9ySSTAbn0AJ+lXLWOWRf3gRCOXIOVUfWuk8UdGjSNhccDJJ6AepouhDLB9n8tWiyCxYcsR0Pt7UskgI2Rgqg/8ePqaZQAlV0/d615hB3SWbIn03jcf6fnVuJGklWNerHArO1O7t4/E6LuOwWRWMBSTgOOcD8zQBfoqmNQhBJlWWBMZV5EwGHqO/wCeKG1CDAMKy3AxljEuQo9TnH6ZNAGlaBiZAiszlQqKv8TFgAM9h6ntTLgqbiQr90ucfTNLZvC0EkguIwsiFFwwLEkgEgdeOT+FMdtzs3TJJoARTtYN6HNOkUK3y/dPI+lNp64Zdn8Q+77+1ADKyNYvZoF8ueDEcjBA68gncMH+hB/DNa9VdWO3TZ3PCou9voDk/oKALR61y/xNt3PhhtVguUt7nR5V1GBn+6zR5+Q/7wJH5V1Gc8joa474uNa3Hw/1iL7ZbCSARO8RlXef3i4Xb15rnxbSoz9Gexw/GUszoKPWcU9L6NpP8HY6PRLgXenR3axmMTlpQhOdu4k4z+NXqj0u3ma03rb+SjSOVXhQo3HgVOY8TiFpYVcqW/1gOBnHbP8AkGt1seVUtzuysMopblrO2jDTXqZP3USNmZj6AY5p8X2fy1MnnbiASoAGD6ZpkEVAiEBaIZwrHGewPIA9sEVYSS3jfcLcv7SP/gKinnW4uZmVVUhhlVHA+VaAKN4JHv7FEYBA7ySD1AUgf+PMKuVWk/5CUPr5Un80qzQAVb05oYt09wrMhBjCjuSOfyH9KhtkXJll/wBWnJH949lpkkjSHnhckhR0XPpQBBqaGOGWMkHa4GR3+YVPHI8UokjYq6nIIqHUfmsi/oVU/wDfQx/n2qQ9aANu5125XTkms9Mmv7nftkhiHIG0nd9MgD8aW5tdW1fSX8yeTTpZWQeSGwECS5Y7gN2XUY+mPeswyPa4jhkKy9XZTgj/AGf896uQ67dRxqjRxyYGNzZyfrQBRl0Dxahnmi8SljktFGAeQM7RzwODj0J5NEvh/wAV3Nqs3/CSm0vJrSOK4VQWVXEWGK9MHeScgDt6Vqw+IDu/fW4x/sN/jWlbalZ3GAkyhv7rcGgBtis1pbeTNI0zxRR7nOTvOMFvxIqSOScTJHI8L7sn5FPT69PT60skcpuozGqhM5kZjyRggKB+tKqyrcKP3KwD7gXIbODkY6e9ACXnmsEjhUFmYbmPRVzz+naopm/0xbNA8KtAQrrwOvQD1AHX3q4jBt2M/K20/Wo5Iy88MolIRN2VHRsjj8qADzPLdI5FI3khSOQcDv71jQL9m8Uw2vyBTDK6AdT938+Bj/gJrXhh3Ms8ygy4wMgfJ9Kzdbtmn1exeI4ljimZSOv8PA9DQBs0VBZXK3UO8YDDhgOxqegCpfQzebFd2oDzRgqY2farocZGex4Bz7Y70v2i82rt087z1DTLtB+vUj8KtU2WWOFDJM6ogIyTQBixSWkOkQDUIUZpiz/u1ySckBs9d2MZPrmqMHiy1guJLCXzHlR8I0jjLKeRnHQgcc1HqWVW2jKlCIQzA9dzEkk+5JyaoyxRSoUljR1OMhhnOOlAE+qeKopklgkVUhUBpJVUsi9xlug9ayjNc38QNtC0Ee5Xjmkba2QQQQuOn41dWCFUdFhjVZCS6hRhs9cingAAADAHSgBSSTkkknqTTUtVEM8lvIyTLmTySuVlHVgO4b9D6U6hc7htznPGPWgBtmy3KXDqdzrJnIOd6bF5/D+VOUFmCqMknAHrUKxGz1RkRmjkK73QEbVIwAR79c/hWnCsZje6WSONsbdp42se4/D9aAK9yQu2FSCI85I7t3P9PwqKpSlup5mZ/wDcT/GmRy2bTSRbbjKYzyOc0AS2drLct8owg+83oP6026k8yTCrsRPlRfQf41X1eaR7B/LXC+fBlQeETzBn9SKtC43Ai4jExJB3E4bjtn0oAgpKtzXivH5aWdtGPUJlvzqCOWWP7kjL9KAHW6spaXawCKSDjv0H6moqstNL9jbzJHcysNoLE4A6mq1AEF//AMeFx/1yf+RqSH/VJ/uj+VR3/wDx4XH/AFyf+RqWHmKMDklR/KgB8btHIsinDKQQalvFVbhtnCPh1+h5qRLJgN11Ilsn+394/RetPmuLVY0jhiaXYrKHlx39v5UAULlJW0nU3jDbRYXO49seU1cFXoN9I3/COa9I7k7NKuFXJ6ZQiuAoA9X8Df8AHhqn/Yc1H/0qkrVsizXV6dhCecAp9cKoP6isbwfNHbaRrFxMcRx6zqTMfYXUlbenRtFaKJFCyOTI4HZmOSPwzj8KALFFFFABRUF3ciAKqqZJnOI4geWP9AO5qDydVZXY39sjk/u1W2JRR6Nlst9QV+lAEmoFpPKtUYgzthypwQgGWI/Qf8CqcCK3hVfkiiUYGeAPaqg02OZ0mv3+1zKpAJG1Fz1woPsOuegqSHTrGH7lrGfdhuP65oAbLdtLIIdPaCaQf6xy2UjHvjqT2FLFYnzlklupXkyNxVVTOPcDOPbP51ZjjjjXbHGiL6KoAp6/eH1oAz/Dv/ICs/8ArmP51fqh4d/5AVn/ANcx/Or9ABRRRQBRYzWHIxPbM5wvAkQseg7NyTxwfrVq3minj3xNuGcHjBB9COx9qW4hSeB4ZM7XGDjqPce9ZtrMwubeaRgskrNbXCj+KVQSp/JT+BHtQBq0UUUAFFFFAHKeJdF1GW4uVs7m2hsNRnt2u9wbzRtYK4THHzKAM8Ec9c1c8I20ENlqGmPbQg219MsgVBtYOfMU/wDfLr+Vauqf8e8f/XeP/wBDFZWuWtvZazp+qWwaK6uL1LeYqx2zKykfMM44CjB68CgDcghht4xFBDHEg6KihQPwFPqpMzTajHajesaJ5zsDjcc4VfXsSfwq3QBX1K+s9NsZb7ULqG1tYV3SSyuFVR7k142b4+MvGp8U3DTSaDp832fR1dNiEsuGnweSC3GT7elaHjlf+Eq+KjaFqGW0jQ7SOdrST7t1NJyHI/iVRxz3yK32hhaD7OYk8nbt2Y+Xb6Y9K5VetL+6n97X6J/ie7LlyyhaOtWpFa9IxlrZd5Sju9LRk1q27SVNPlI44c8bQ5Huf/rYqGpbvAupFHRTt/Lj+ldR4RFRRVaS/s0dI/PV3dxGqx/OSxOAMDPegC6AVtZGDsjv8iMuMgfxHn24/Gsa3t47fxD8hdmazO5ncsx+cdzWhPqNk0hj89YxF8gWT5D65wfXOayl1CGTXt8EdxMBaMvywsMneOmcfn0oA2GkReGdV+pxUL3kiT+VZKJLhQG3HGyPPQn16dBWdZWMc+o3M19EkkqlWVHAPl7gfz4wPbFTNatDqT/YnEDSQAlNg2Eqx6+mdxGaANucf6PG0LOIWzuUsTh+pz656/iar0aXdpNAHkRhFKMSJnJUg4/MGnzxtDJtJBGMqw6MPWgBlFFFADpOobH3gDVO5lCSGO6jU20g27+o56hvQH16dq0Uh3WwldhGobAY559gKjlW1aJ42jaYMMHfwMfQf40Act4h1a60vw99ks1M+szyiys4iclpXJCN7gDnPtW/pPwr8N6fpVnu021vNYixJPfXOZHllIyzZPv044rl/EEOv6d4r0TxNb6dDr0WmrNGtpEgikBdcK+SSGIPU8YHatVPihr2n7rjxD4NaPT4zie50+78/wAj1ypA3Y7kGuGcoe1bqrbbRtev9dj6rD0cSsDThgKiTndytOMZN3aULcybstUrauXXQ14oJrcSJOjK3nSde/znoe9UFu4IbueSYuZGfy1EcTOQi/7oJxknn14rM1T4nrfSSQ+D9Hi8RWVqstzfyvvjwC5KpEccuQc9K2PCsmneILK713w87zWssgEkci7ZopAg3IR7fzyfeuiGIp1JcsX/AF5dzx8Vk+MwlJVa0Gl17rtzLeN91e11sLZo80/26UbSyFIkKkFUznnPc8fTpVyg8HHQ0VseaFMMXlXcpKlTIkb4P0xn9KfS6tdRR+VNM6KUs0BywBb53AwO/QfTNAGc86Jqku5JpHSJQFjQttBySf5e/Fa8cAVRJcMYkIyFx87fQdvxqDT8WkLMu2S4lcyPKRwM9Ao9hgZPXGeKVmZmLMxZj1JPJoAdNJvwqrsjX7q56f8A16ZRSxo0jhEUsx6ADmgCK65tnT+8VH47hirVoB55kfhYwXPHcdB+eKjvo4YLdvtDGRwV/dxngfMOrf4VYvZYXQG3iMYc5kG7PzDsPagCqSScnqetFFQ3s32ezmm4JRCQD3PYfnigCaikXO0ZGDjkUo5OByaANvQrhpLaW2nJaM/KnzYJJB+UH8K1bMwspUTec33jnqB2HtxXMXO63SK3yVkQ+Y+OzHp+Q/nXR6K8UliJY4whdi0gHd+5oAkt5gsSx+S6OoOQEIUY9zxim2uxWBWaNtibZdrDGf6dTVuqs0dvDCIVjWKJ2O/aBg9zkd80ASQu7Ty5b93kKmRjkZzj1HT9ar3P/Icsv+uM3/stPu0YRW5iXY6SptTOBzwwP4E/jTLn/kOWX/XGb/2WgBt5G1rcfboRx/y1XPBHr/np19avQyJNGskZyp/zj604jIIPINZozptyF5+yyHj/AGD/AJ/T6cgGlVXUSqi3dyAFnU5PbrVocjI5Fct4t1FZL+00uFzkM00uO4UYx+bD/IoArX8/2i9lm7M3H07VBRRQAUUUUAFWf+PMD/n5P/kMf4/yp4j+xQrNIuZn/wBWOye59/QfjVMkkkkkk9SaAIrVUmS9tptuHlPlyMOYpNi4cHqOevqKnt3aOWS3uUMbj5JkP8J6gj1HQg1VtP8AWXP/AF2P/oK1au2Z1iuyM+WohmIHO3OUY+w5H4igBZIpI8FlIUnhscH6GqVhmRZLlsAytwB2UcD8f8atNcyWsMkiyMqqpYjqOB6VFYYk0y2kVNrGFWkUDuRkn9aAJJIfPsryPdtJt2KtjoRyD+BANNgfzIY5MY3qGx6ZFPlfydOu52OF8srn6jJ/QVHbKY7eKM9VRQfwFAElKo3MF6ZOKSkvRJbWLzk7GIwg/iJPGcfjQA+SeO42yQjEW0CP3X1/Hr+NEcbyPtjRnb0AzTw1ugCR2qhFGACxz+mB+lWLSeSWR4PlRHjYBFGBnHH8qAKWoQxR2Fz58oLeS/yR8n7p6noKlhumjhUW6rCCo5Xlun97rUE9vNcWNz5MbNiFyT2HynvV2O3tbWKP7VKZX2AiOHp07t/hQBWRZJZNqKzuewGSasizWLm8mWH/AGF+Z/y7fjSSX0m0x26rbRntH1P1PU1VPWgBdburaPw9q8MduViksJ1Z2bL/AOrbB9OtcBzXYa//AMi/qf8A15Tf+i2rkKAPS/Cm2a3vbNmUq+u6m0qHncouZeCPQkiurNc54ChjS11iVV+eTXNQLE+1zIB+FdHQAVQleTUN0NtI0VuCu64RiGJByVT8sE+5FOuv9MuTZrLiFF3T7Dhs5G1M9gRknvjHrVxVVVCqoVQMAAcAelADUhhjleVIkV3PzMByfxp9FFABRRRQAUq/eH1pKVfvD60AZ/h3/kBWf/XMfzq/VDw7/wAgKz/65j+dX6ACiiigArM1K3aK4S9WTEQlR5UK5xjjeMdODz7CtOigABBAIIIPII70VS+zyWeGsgzxZ+a3LcYP9wnpj06fSrME8c0PnKSF53buCpHUH0xQBJTJpooQPNkVM9Nxxmqhna+ISzkIt/8AlpcIfvD+6h7+57fWp7aztrc7oo/nxjezFmx6ZOTQBQ1O+8yOJba1uJ1MsZ80KFj++OMtjP4Aj3qr4k/tWSxjuF0+MrZ3Ed2yrcZdljOSANuMkZ71e1m+s47aMyXUK5uI1H7wZJ3Dge9Pu3uL62lt7eBoo5UaMzS5XaCMZC9T+lAC6VNHfFtThw0EyILd/wC+nJ3D2OePpnvVm8ubeztJbu7njgt4ULySyNtVFHUk9hWLZf2tocMFpcQ/2lYRQLGktnBtlj24ADJuwQRzlehHSsn4h6lfX/gjV7HTfDmpXVzd2skEMc8KoHJXk7S2TgZPA6gVM5OMW0b4WlGtXhTk7KTSv2uzkdMvF8VfEbU/F9jIw0mG3XTrRtpX7Vghmk5/hB6V1VcdokXxHXSdO0yz8KWtgUgWBJ9VvACzKnUonIzg1u6f4G8R6vDv1zxtc24ztltdKtlg2Huu9tzfjXJQqNR0i23q9La/M+gzTBwqV71K0IQilGK5ud8q0XwJ6vd3tq+hpNeWVjNFLf3VvbRBgS00gQYH1rk9R8faP9oNto7TaxcHqLKB5wD2+6MH8xXY6d8L/Aumv9suNKGoTLy1xqUzXB+p3HH6V0uhQ28YnntLZbaGRhHGiIEGxMgEKOmSW/Stf38uy/H/ACPP/wCEuj/PU+6C/wDb2/wPKbW3+IOtXEc1r4ans4grANqt0LeJgRzuhTLHHbJFW5fhr44nD3zeO0s71AGt7SzgZLVWHQH5s4PTpXrlFJ4bm+OTfzt+VjSnnTw7vhqMIf8AbvM36ufN+FjyGy8TPa3yaT4s06TQdTPyxmY5t7g+scnQ/Q81pzSRx+IFaWREH2M8swH8Yrv9Z0vTtZ06XTtVs4by1lGHilXI+o9D7jmvKL/wTq3hnW/tHg4LrdmtuznTr2QebGu4ArDKf5NRzVKXxe8u/X7uvy+4n2WDx38JqlU/lb9x+kn8PpLT+90Nyzlt42neS6ty0kpYHzB93sPwFPsv30st2VID4WLPUoO/tkk/hisjw/rWjapqM0O17XVVAEljeReVNCB2CnqM5ORnrXRVvCcZq8Xc83EYathp+zrRcX5/1t5lIstvquWbZHcRjHYeYD/Mgj/vmtOzmhnh8l5FaJv9XIDkIc/y9aztTs1vrcQu5VQ4YjGQ4HYjuP8AAUul2MGnWMdnbKFijzge5OTVGBcljeKQxyLhh1FS20SkGebiFDz/ALR/uiprbZdQlLhiggGRKBn5f7p/pVe5m81gFXZGowieg/xoAVpDNJIzAAbTtUdFHUAVDUkC7vM9oyajoAzdVuJRcQ2yBlj+WSeRc5C7wNv49/YGtBEWOMRooVFGAoHAFUU8mXUr61mZWMkaHZnnZgg/r/MVNYSNta2lbM0PDZ6sv8LfiP1BoANMjSOB1jRUXzpOFGB981gax4Z1I6hdar4b8R3uiXtwUaSOE4gmZehkUcknnmuhsP8AVSf9dpP/AEM1P+f4VnUpRqK0jrwmOr4Sp7Sk9XvdJprs07p/Myfh5rWra9Nrei+IIrGa80dIydQsiSkhIPyPn+MY5rXrnvhZMfDur6h4Avfs6i8Et7pt7gh7rcxLo5P3nUfp2ro543t5GjmXYy9c/wA6zwsm6fvPXr/l/W+5255Rp0sW3RilCSTjbZq3xLtd30+y7x6DGZVUszBVHUk4AqodRtppolYmNER1WSQbVk3FT8pPUDB/Om28X2wLdXILITuiib7qjsSO5789ParjqrqVdQynqCMiug8crwzWMEYjhkhVckhEIPv0FNW8llO2CznDc/NMuxQPX1Oew/PFW0VY2DRgIw6FRg1Z+1ysAsqxzD/pouT+fWgCpDBflDK/2byh/GSyZPoBzk1Ml+ZUKQ28tmFGxlYYZ/ckcH8KJ5pJn3SHpwABgKPQDtTKAIL7/j1b6r/6EKv2kP2gTxhlDBN6hjjJB/wzVC//AOPVvqv/AKEKkMyrdJFz5jKzjjjAIB/9CFAFiW2uIv8AWQuo9ccfnVC/BZrZA2AZ1J9wAWx+laMvnWsxWORkBAYFWxkGq1xdCbULaK4hEpAeQsuFYADHXvy3egB1W7Vvsai5ZFaVv9UrdB/tH+lR7rMc+XOfYsMfyqKaRpZDI3U+nQD0oAs6gquI7tRt8/JKehHU/Q1t+GiDpmPR2Brma2PDFzsne2Y8SDK/Uf8A1v5UAdDSOquAGUMAcjIzzS0UARTR75InH3kbOfbByKrXP/Icsv8ArjN/7LV6qNz/AMhyy/64zf8AstAF6myRpIhSRQ6nsRTqq6leJZW5kblzwi+poAy9Tu5NLJt4plKsh27jjZznr2PPHY8dO/M6fvkD3UysssrH5XHzRqOAp/LJ9yaklto7i4kuLsfaZZDlmlAbHsB0AqQjbz6DAbkkD0I7j9R9OKAH0U1WzgEYbGcZzkeoPce9OoAKsx7bWPzHAaZh8iEfcH94+/pQifZkWaRcyNzGh7D+8f6CqzMzMWYkknJJ70ATRTfO6zMWWT7xPOD/AHvrUckbRthh9D2PuKaAScAEn0FWbfJjkt2fO5SVUc4Yc/h0oAzrT/WXP/XY/wDoK1dtJVim+cbonBSRf7yngisyO6t4JrhZpkRjKSFJ5xtXt1qWN765dUtrTy9wz5kzABR64Bz+eKAG6rFPHaXFp9+ZAMY/5aJkfMPXK/rxV+FUCJJ5yojDKheTtI9P8anh3+RFDNfWcjwtujl8l1ZBnkKwPfmoY7XTraIhLu7mcsW2hFCKT1xkZ6nPJP5cUAM1vU4Wghs/sFuYp5kj8vbklSRuP0wDmpGhXLM08QXPGGySPYD+tQavb2d1ol21raBL6zU3dtIfnd2QZKk9cEZGB60aeTfyypZxyTCIKXZUJUbhkDPrjB/EUAT+ckabYU+bIPmN978PSqGqOWhCklpJZFVe5JyD/IGrtxYSqP8ASrk2ihh8kWGmcfjwg9zk1jxXraNrlwslx55e1WS0e52lslm3KvAGeFzxmgDdSzlMfnS7YIv78nGfoOppEubOISLa7ppAwAmPy4I5OB1qs8j3KhrhxKzDJycio1t4lm87aS/OCSTjPXA7UAF9cXUmkzxzTOR5cny546HtVhAWsIH67BsPt3H9aq3/APx4XH/XJ/5GrmnHdbvB18yIFf8AeUZH9fzoAiooqOZGdQFkKc5JHXHpQBV1/wD5F/U/+vKb/wBFtXIV0+rtP/YurRSRtsWynIkJ65RsD8K5igD1HwdcRW9jqIkJLPruohEVSzN/pUnQCtovqEwHlwxWynPzSnew9PlHH61heB5LSGDV3eSNZW1vUAxY8gfapMD6f410P2y1/wCfiP8A76oAdaW8dtGUTJLMXdj1dj1J9/8AAVLUH2y1/wCfiP8A76o+2Wv/AD8R/wDfVAE9FQfbLX/n4j/76o+2Wv8Az8R/99UAT0VB9stf+fiP/vqj7Za/8/Ef/fVAE9Kv3h9ar/bLX/n4j/76pVvLXcP9Ij6/3qAK3h3/AJAVn/1zH86v1k+Hby1/sOz/ANIj/wBX/e96v/bLX/n4j/76oAnoqD7Za/8APxH/AN9UfbLX/n4j/wC+qAJ6Kg+2Wv8Az8R/99UfbLX/AJ+I/wDvqgCeqk9rKssk1o8StIP3kUiZSQ4xkkcg4wM88Doak+2Wv/PxH/31R9stf+fiP/vqgCIz3kqqsdm0Lt955WUqnrwDk+3SqmrW9w1u8LX88kk6lIokAjG7HUlecDqea0Ptlr/z8R/99VUsbyzmmmvPOi+c7Im3dUHp7E5P5UAPv7e2hijaG3hiPmxqCiBTjeOOKvms7VLy1+zx/wCkR/6+P+L/AGxVr7Za/wDPxH/31QBPWa82bl7l5khRSYoiwJwAcO2Pc8Z7Y96tNfWaqWa6iVQMklsACqulXdv9nkc3ChJJnkjDHkKTkfTPJ/GgCS4aO4v9PCsGA3zj0IC7c/m4pdSjMKPf26t58a5ZV/5aqOqkd+M49Kjsryye5u5RcRMRKI92ewUfL+BJ/EmrRu7QjDTxkHqM0AF95MlhMZJljiMZJlJ4UYzu/rUWitK+lwyTqUkcF2U/w5JOKpwSWN1oxtJJYsxh4Rv6BlyoOPToR7Yq7a6haS2sMnnoN6K2C3TIoAt012wQq4LkcA1WTUbVrmSHzUGxVO7cMHOeP0omuLJvma6RcYLENjIGeD7c0AJIzXkRhhZlB4aZANoI7DPUVA/7vxBlUZ8WJwo6n94PWpV1OxFuhjkUA/LGrArn04xkD8Kz7e5tV8T7pZ7cTGzbO2TOR5gx6dqAGeJ/CuieLbSP+2NPeO5iP7m5jby7iAjuki//AFxXD31l4y8IBmvon8UaMnIu7ZAt5Av+3H/y047rzXo2n3tvJA0zXpCtMZAHcHC4+79Ac1cW9tCAy3MRB6ENWM6Kb5ouz7/59z0sPmc6dNUa0VUp/wAr6f4XvH5aPqmcF4b1Gy8R2BvtGuEuoQdrkHayH0ZTgqfrWqthcN2j4GT+9Xgdz1pvizwj4d1sT3VrNHpGsSY26nZgLMCP7394HuD+dcc+t6x4Pih03xXEl1ZfdGuWe50f085eqHjryKn20qelVfPp/wAD8vM3WXUsWnLAyvL+R/F8nop/K0v7p1N/ewxNHaxLI4OWCohJcjqx9B2Gap+XcXLFpmkt4eixKwDH3LDp9Aar2V/ZTX000d5DLHLHGYWVwVZRnOD9ev1FXvtVt/z3j/Oug8dpxdnuNt47yFyscsc0O1v9aSHXg4+bnPOO351EIdQYFnvkjZhyscQIX6E9fqfyFWVurYRuftCZ4HX/AD6U37Vbf894/wA6BEYs1URsrkypJ5jSN1YkYOfw/kKddQs7JNCQs0fQnoy91P1/ninfarb/AJ7x/nR9qtv+e8f50ANsP9VJ/wBdpP8A0M1YqlYXEBikxKp/fSd/9s1Y+0Qf89VoAyPGWgjXtLWOG4a0v7aQT2N0hw0Mo6HPp2NZ918TtDutLj0nxcX0TxBGwhuw0LNGVxy6soIKt2HbOeldN9qtv+e6fnUF5/Zl5CYbxba4jP8ABKoYH86wnSlzc9N2f4M9XC46h7JYfGQcoJ3TTSlG+9m000+zW+qa1vbTaY1ZMbCoK46EEcY9sU6uP+FN9C/geCOW4KyW91cQNDIf9QFkysY9grDFdT9rtf8An4j/AO+qujU9pTU+5zZjhPqeKqYe9+VtX726k9FQfa7X/n4j/wC+qkSSN/utu+grQ4x9FK3kxoXnu7WBB1aSUCs688ReFbIE3HiK0fHaD94fyHP6Urq9jSnRqVL8kW/RXLN//wAerfVf/QhTmCrqEMrkAbXRR3Y/KcfktYs/jDQZLRms9N12/ORhks2VTgg9xSt4j1q+khuLfwSkMaSloxdTrG5G0g/KM4/GrUJO+j0NfqlXTmsr7XaX5tHTXPz2tvJ3AaM/gcj+dZnDawcHmO35H+83H/oBrLfxNrNnbeVrXhnyrdXEpubKYTCNTwdw4PHGcA8CrWl6lpt7Pc3lteW80ZKxrIjgggDPUe7H86JRcJOMlqZzozjBT6Pr/X6mrRUP2q2/57x/nR9qtv8AnvH+dSZE1KjNG4dGKspyCO1Qfarb/nvH+dRWmoW08Cy+YibicAtnoSKAOpsNcUqEvFIb++o4P1FbSMroGRgynoQcg159HfWcjOqXEZKHa3Pet7wxNHl5TeKsI4CbuCfWgDpKo3P/ACHLL/rjN/7LU/2y1/5+I/8AvqqNzd2v9uWX+kR/6mXv/u0AaNxMlvA80hwqjJrkb+6kvLlpn4HRV/uj0re1q5tZNOeMXUSliAMt1Oelco1zbqSrTICOoJ6UATUVD9qtv+e8f50farb/AJ7x/nQA5l29yq8npnafXHp6jv8AUCrdt5cSedOoZ/4Is5GfU+3p6/Sqa3NuzYE8f5003lqkg2yRFQMKD3GDkfXuPfI7igC0xkmkZ2JdjySTUc8kNrH5lxJHGCcDcwAz/ntVe71KzhiVY5BKzsNqhgCx/wAB1zUNs8IczXM8DzEnGDxGOPlGfp1oAl/tS3c7ITJIx42xxN+vHT6mkF1frmaG0EJj+bMrBiQPRVP8zUv2u3/5+E/Oj7Vbf894/wA6AIrC2itpLpYmEgM2fNzkyDauGz3yK0pm8lDboCCceYfU+n0FVNFltTDcy+ZATHcOI494y42rzj0BLce1JJdQ7yZJ13k5O48mgCWioftVt/z3j/Oj7Vbf894/zoAsRSNFKsicMpyKlt7hbO2a102FLKBmLFIySc/U9sAADsBVL7Vbf894/wA6PtVt/wA94/zoAmJJJJ5J6mqPiP8A4+NJtQpby1lvZD6ELhF+nzZqx9pt2O0Tx5PHWsi+njuvGOoTrdRSfZFWKKFpMLtKjJ791/lQBqWe1zvXOFUKo9OATVmqf2q0t4UWOSBRuAwGwB6/1qX7Vbf894/zoAL/AP48Lj/rk/8AI1PaOY/JkH8IU1Sv7q2+wXH7+P8A1T9/Y1JFdW3lJ+/j+6O/tQBduUEc7ov3c5X6HkfpUdLNdW0ltFMJo8oPLfn06H8uPwqD7Vbf894/zoAr6/8A8i/qf/XlN/6LauQrqteubc6BqQEyE/Y5u/8A0zauVoA9Q8DXdv5Wq2xkCy/23qPysCM/6VJ0J4P4V01YHgb/AI8NU/7Dmo/+lUlb9ABRRRQAUUUUAFFFFABVW6ZmvrK3HRnMjHOOEx/Ur+GatVVvFC3VncbsFJfLPuHGMfntP4UAReHf+QFZ/wDXMfzq/VDw7/yArP8A65j+dX6ACiiq2p7/ALE6RuY3kKxhh1XcwXP60ARx3N1cMGtYIvs5BxNI5+fnsoHQ+ufw71dpEVURUUYVQAB6CloAKKKRuQV3bSR26j3oAr6rI0djJtJVnwgYfw54LfgMn8KHUxwQtbOwhjUYjjQMXXsB+FPitYY1CqpIDbvmYtz681Xe+L3Jht1J8uTZISOScchfpxmgCC/uZ5DEn2UrGZYyS3DKd4/Ag47HuK0oJfOQtskTkgh1weKz9X+0TQRKji3UTx7wQC/3x07D681JfyfZ8xwtKZnUs78sY0HVsevoPX8aAHS5vrk24ANrER5rf33H8H0HU/l61bRWEjs0hKkjaP7tMtEhS1iW3/1QUbDnOR657/WktpxJEZJFMW1iGDHpg4oApafbzmCWeC7lTzpZJFR1BUZYkHkZFWrC7S6jZThbiLCzxZ5jbGcH+YPcVB4fuDPpqBxiSMlWHtklSPwx+o7VX1BXsdU/tCKNSJQFfA5cgfdJ9cAbfcEd6ANNIESWWRWcGTlhu4zjGQPXgUliksdnFHME3ooU7DkHHGakjdJI1kjYMjqGUjuD0NBceYIxy2M4BHA9aAIpFZXP2dFEkjAu7DoB/M+gqOJwb+Yb2O3glmwBx0Ud8dSfehbt5I1aGMYklMcZPIwM5Y47cHH4Us8EzTwBWURAN5w6bs49KAFMbm5M0cjRqR87EA7gM4A9Byecc1Q3Wsvi5GWRDKtlxhuT8/H14JrVliWUBX5TnKdm+tZ0ixP4oRWCsws9wHcESAg0ATxpdWpKLiZCpZdqBdr5z09Dz1NTWUSwxbfLWJmJZoweAehI9u/40lzNJGHLRkRAffQ5bp1xjA/GqywxGS3mt2PmBS+CBuZe6+2c/pQBo0kiJJG0ciK6MCGVhkEehHem28qzwJMmdrqGAIwR9afQB5br/wAP7jS9VN/4AkS3kQme40qd/wDRZCeMJ3iYgt044HSmaF4lttQu20u9t5tK1mMfvdPuhtkHup6OvuK9OtkcTXMjrt3yDbz1AUDP6VleLvCmieKbVIdVtcyxc291E2yeBvVHHI+nSub2UqetL7uny7fl5HsrMKWMXJj02+k18S/xfzr1tLtK2hif8su+d39KbXN37+IfAp2eJZP7W0BnWOLV4lxLAScKJ0HX03LXWhrSEfIv2l+zNwn4DqfxrSnVU7rZroceMwM8LyyupQltJbO2/mmrq6aTXbYjgt5pgWRfkHV2OFH41J/osHc3MnoOEH9T+lRTzzTY8xyQOijgD6DpUdanETWF5cvp822Ux+XcuVWP5QAXb+uKcL68/wCfqX/vqq2h/Ms8WM+Y0yj67iR/KloAs/2he5/4+HqG81i5tbWW5munCRKWOcdqZVXVrX7bp09r3deOe45H6igDA8LaT430q0uJE1bSbYaleSahMjWjSuskgXK53AYG0Vqs/j/zAF8Q6T5fvp5z/wChVd8OTeboEMTSb5rc+VICMFSOgPvjFXa9SOEoR+BXW3/BKrZtiK8nOoldu/wr7r2vZdjIaTx6Plj8QaQQ3VpNPbK/TD1W1HS/E16v+neML2Pn5haW6IMe2ckV0FP+8m7uv8qawtJW02/rXv8AMzeYVne1lftGP4aafKxykXgvQZkCajHdalIMEyXV08hf364/AAVu6fpun6fCIbGxtraMdFjjCipZI8fdBx6D+E+op8MgkX0YcMPQ1rCEYLlirIxrYuvWd6k2/ViyE7D+H86QndPgdEHP1NMmJfKDgDG4/wBKkk2xqxUAegHc1Zzjkw/TGDnrXOz+F7dNWuLzSb6fSJZkAmFoq7JT2YqRjPXkV0Ea7UVfQU3pc+u5efbB/wDr1M4KceWWxtQr1KEuaD1+T/B6HPQ2fjCzZ4Y9Q07UYc5jmuo2SUeoITg0y0u9d03WLa116ezuYL/KwS28RQRSgZ8sgk5BAOD1yK6isDx5Hp03h25W+u0tZIkM1vJ5m145V5Vl79a5quGhyya0/JWO7DYp1akac4J300Wrb2fydvU1Lu4W2t2mk3ELjgdSScAfmaqr51ppyQqAbhyVjUHhScnr7c8+1MsVuL/w3bfa/kupbZGfcuNsm0HJH17Uubh9VthdRogCPsKvuV5Dj8iAG/M15id1cmcHCTi+hoWNttWK1gUnA2j39z/Oui0a6tbciwExds534wpb0FZFx/ou62jYFzxK4/8AQR7etVaZJ3NUbn/kOWX/AFxm/wDZar6FqXnqLadv3oHysf4h/jVi5/5Dll/1xm/9loAi8SnGm49ZBWCp+1KEJ/fqMKf749D7+lanii4RkhhjkViGLMAc49P61h0AByDg5Boqz/x+Ln/l4A5/6aD/AOK/nVagBw3eUceozVK7kmef7JblFcpvZ2ydgzhSAOpyD3HSr6r+4dt69vl7/wCeaoQHzdQnkGdsSiIcdT1P16gfnQAscey48+QgyldgXIVV/vbc8AE84ycdO1WQ3JXkEdQRg1We7y7rBbyT7DhypAAPpz1NJDNI8ibLOVYATkvhCvf5VPPJ6jgHnvzQBbGScDJNNLNvKrkFThmP8J9Pr/KkWW4YYMohDA4FuCoYZ7Mfm+vI+lKiqihVUKo6AUAQ2Y2tcKM4EuBk/wCytXo7mRU2NiRP7rjI/wARVGzIMl1gg4m59vlWrFAE4+yy/wATwN2z8y/4j9abJbyom/AeP++hyP8A61RU6KR4n3xsVb2oAbRVrNtcAbsW83qPuN/8T/KoxbSLO8c37sR8yH0H+elACQKFXz5PuKflH95vT/GszUNJ03ULt7q8s45pnbczNnk/StK4k8xxtXaijCL6CojwCQMn09aAOc0GH7PrWoaemJrJyZFCQsscLAgbATwT34PXPArduJJBNHHG4UsC3PfGOP1pujRwR+HNNlWdHmuTNJKqjkSGQlwfdSwU+4qZo0aRZGXLJnafTNAEd8T/AGfcZ4Pktkf8BNSQ/wCpT/dH8qjv/wDjwuP+uT/yNSQ/6pP90fyoAt2LfPJFgsJY2UD3xkfqKr06KQxSpIpwVYGnXaiO5kVfu7vl+h6fpQBna/8A8i/qf/XlN/6LauPrr/EOf+Ee1PGAfsU2M/8AXNq5CgD1fwN/x4ap/wBhzUf/AEqkrfrA8Df8eGqf9hzUf/SqSt+gAooooAKKKZLNFEyLJIqs5wgJ5Y+w70APooooAKqaonmRQxLjc1xFt/BgT+gNS3lwttbtIRuboiZwXY9FH1quNPkmuI7i5vJvPTITyjtRM9cA5ycZG488npQAnh3/AJAVn/1z/rV2WSOJC8rqijqWOBWLoGno+i2b/a75X8sYZbgjA54x0/TNacNhaRP5gi3vjAeV2kYD2LE4/CgCsmpfaLjyrd7eNSSEaYsDLjuo4yPfJzVhbeaS4Et3LG6p9yJFIUHIIY5JyRjj0qe4ijuIXhmUOjjBBqCxlfc9pM26eLuerp2f+h9waALVFFFADGmRZ0hP33BIHsP/ANdV9Oh8lZZGPzSykkn64FSvawvdx3TJ++jUqrA9j1FMjRjeyGU7gMGIY4Axz7Zzn8KAKbG8uL8osKiJZsSszkYQcjHrnPP1FX4LaGGRpEjAkcYd+7e5qF7gLdShLcvMqgAL1K9eew68epqyHbyPMaJg+MlAcnPpQBU1QwkR8oZRLHxnnG8VYtLdbcOfMeR3Yszv1PJwPoM4HtWVq9iJLNHNusE7XkbF4n+blwCS3Hb+lbLsyui7dwYkMw7celADbcMqMjdVY4OOozkfzp6FGO4bW5wcc9O1MuJFiiLswUZA3EZAye9Mso5UVzNt3u24hR8o4HT1oAztPhkt7RZ4F3yQySxzKBzMokbke46j8R3rQm8m8099rh4pIyVYfofqDUGluftd/E67H84SAAcbSoH48g/nVoW0arMqgqJslh2yRgkCgCpoUu+0aFmy8TYIx0DAOo/AMB+FW7vd5DiMlZGG1WA5BPf8OtZ+mz2ts8sdzcxRXRKRyI7BcsqgAr6gjB/HFacaKkaoudqgAZOeKAGLFtMIXOEB6cDOOpH506dpFhdo1DOFJUHoT+FAlTe6njZjJPTmm2c32iETKpCNzGT/ABLjg/jQBDvuPtycBUMQLKxJA55/HpWXaJHbazLPDM85ezeTfLnk+YOPp6VpW/mENHDMPKHzkupZjuLcdeMYrmruG+1J/OsdVmsAbdWiRrbaVCsUJYMM8kq2Mfwj8QDpIVhjnt1uNz3JQ+XK4wW6EjGevA49qltY2jkndoxnfiMjGSgHA/PNY2t6zqFpd6cqeH7243s5k2Op8ts7UyRkYOSxPYAZ61nP4o8QKu+TwvdDP3Ehcvk+WGIYlR/Flce3WgDrbSTcrKYDAVP3CR357VNXIv4o1pY0ul8K3bwFJXdVb51KtGqKc45O9icA42Hr1re8P3l3f6e1xe2TWconljETZztVyFb8QAfxoA0KKKKAMbxxoieI/COp6K2A1zbssTYztkHKN+DAVwvh3W/7S8OWGoNayGQxCO6SMbmimQbZAR1+8Cf/ANdep15B4JKtq3jBoxiM+I7oIB0wNucfU5Nc8vdrRa63X3a/16nr0F7XLasZfYlGS/7e91r56P8A7dNl7rzM+TbXMiqOXVdmD7BsEmmafcyoEt7xJUb7sUkmMygeuOje3frWhVe/aFbR/PTehGNgHLE9APfNdB5Aukzxxz7fMUSLO7Fc843nnH51ZmXy5nj/ALrEfrWDZac8lm6zOkS+dIzFRvkJ3Hkue/uB2ragkefT7O6c5aaBST/eI4yfcgA/jQA6iiigDP0yFm8RaldxsPJEEUTgZ5kBYk+n3SK1qwdGk1bTLjUIriD7XaPI1wJS3zknHyKo68D2rVstc0a8uvsqvLDOeiTwvFu/3SwAP4V7NKSlBJO9kjgmrN3VtSzXjuseFfirN+0HZ69ZeIJE8HAo0kAuyEWMKN8Ri7ktzn3617PPEYzn+GoqqUVKwJ2FZdp9uxqNowSWX5Xx96pVb+Fvu/ypGXafbsaoRAuTG5YYO7kflUk/8GOu4f8A1/0pgOYmYdGbI+malTDT7T/cZv5f40AFMbiZG9QRTzTZF3Dg4I5BoAzPF2oXGl+G76/tbeS4miiJVE6jtu+g6n6VQ0Pw9oSQWmoJZ213dGJH+2Om55DgHfk+vWpfG2rrpfhaa48uRprhRDCFHAdxgFmPCqO5PFWfDkaw6DY2wCAwQJCwVtwDKADg9xx17ivPxrakl5P9Oh6uH5oYXmTteX5Lv5X28zQpNpZ42C7ijhh7EdDS05GCqVypyMkZ54Ix+GQT/wABFcRkNJJOSck96KKBycDmgCfT4JZ7pVhIVl+cseigdzU/ii6juL7TfJlV1KTbsHuNvaluWFlZ/Y0/10mGnPoOy/41iT/8he0/65S/+y0AXKKKACSAAST0AoAASCCCQR0IrRtbNtSVXXEbqdsjEcN7/X2qNLWK3Tzb8kHqsCn5m+voKktL6WXUrbIVIlcKsajCrnj86ANttMtjYm1VQuQPnxySO5rlL+zkgd7ZiYmDAkpxnnP6/wBa7iqGs2IvIMpxMn3D6+1AHJRRpFGI41CqOgFPp80M0JxNE8Z/2himUANIwdwAbnJU9CcEZ9jzwaRG4AJzngH1PofQ+35U+msvXGORgg9GHof88UAUlt/MN80TGKd32iReowq4qzZT/abOG4C7fNjV8emR0qpNM9va3syqR++CqzkYViFA3H0yRz0+h4q7bwrb28cCfdjUKPwoAkpY0eRwkalmPQAVLDb7k82VhFD/AHj1b2A70slxiMw26+XGep/ib6n+lAEg8i0DbtlxORjHVE/HuafqskkgibHyNGpLDozY7+4qjVm3JeyngU/NlZAvqBnOPfn9KAK1A6iioL65S0tmmfLH7qIPvOx6KB3JNAEvh+O0k8GxSs3mTLezPOqtho5GdsqfyH160/S7yE24mFvHMJPmG8k7QRwKami3Wn2819qE8Rv7uJI1jgjISMDLHcecsCcZ9vemRNjEbY8wKC2OlAFjU7xW0+5C2Nov7p+Qhz90+9Qp80akYXKjp24qK/8A+PC4/wCuT/yNOikUeVF/E0e4fQYz/MUATrLIvRh+Qp5ubgnPmnP4VSguN1zNbyDbInzKP7yHoR+OR+FWKAE8SzXA8OXsXnMC2nzsxz2MbdfwFcF+Fdt4leX+xdaWaMKY7KSJSDwQIjk/p+tcVQB3HhybxbHcap/ZVjp1xYf21qGfPmKPn7TLnGPfA59TWrJdePN8UkelaOV2sskJnIwezB8+w+XHfrxmrXgb/jw1T/sOaj/6VSVv0Acq934+VG2aRokhH3Wa5Zc9eSOcdj1/+t0tnL59rFNmMllBby33KD3APfmpSAwKsAQeCD3FUtHszpunLavMsiRM5RtgQKmSQMDjgcZ9qAJbyaRCkFuFM8mdu7OFA6sfYccdyaW2tYoGMnMkzfflflm/wHsOKj00CRDesAWn5U9xHn5R+XP41boAKKKjupo7e2kmmJCKMnAzQBWtcXd0102TFGxSAZ4yMhnx9cgew96vL94fWq2mxmHTraFk2GOJV2/3cDpVlfvD60AZ/h3/AJAVn/1zH86v1n+H2VdBs2Zgo8sck470l1fPOph0tftD8h5UYbYvxJwW9vx+oBYnv7WCbypZdrcAnaSFJ6AkDA/GnXMNrcuI5lR3C5AzhgD3GORVaC0ud0ZMwtYlbzGihJYyN33ueoPpgfWrkMEMJcxxhS7FmPUk+5oAh0+R9sltMxaaBtrE9WU/db8R+oNWqp6srJayXcJ2zwpuBzjcoIYqfY4x7ZpftksbKlxYzoSD80f7xMjtkc/mBQBbphH+kK3zfdI68dR+tV0urqUbodPkVecmdxGePQDJ/PFN/tS0QATu8D45SRCCP0wfqOKAJNqQ3zyuyKJgqrluSw7AfT+VS3DbUB83yxuGTjOR6VnXOr6WssMralBGqEhg2fmBHSrkF1Y3gVoZ7efDfLhgSG9vQ0AU7iOeNBulkeEzIVWQfMp8wcZ79/wxWo7BFZmzgDJwM1W1T/j3T/rvH/6GKkTzpCy3EMSpjgB93P5CgBlnL9oR9/zbGx9zAPGcj1qzUVsfkMe1FMZ24ToBgY+nBFSgg9CD9KAKN5a7rqOZJGiJO0mMYfkc89McDqO1Q2Ctb6nJEi4icMDuJLblwd2Sec7/AE6jrU32yZAytEHf7QIUx8qnPPXnoP14pLHzjql21yyFwkflqoOEQ7uMnqSVOfoKAEvE33wwPMUxkPGu0FsEHDE9Rg9PrV9FVUCqoVQMADsKglk8iVyIGYOoP7tcszdMH8MVYoArXc0SuI5F3KEaVsjOFX+v/wBekmRS9tax4jCESbAvGxe3HTkjH0oZUuJp1VxkII2U8qe4J/Mj8TUlo0kkbNIgQ7iAv90DjH86ABvlmLpCHYkIzBgCB1GfxJ/OsvUQZPEAjCsx+xCTAfbkLMpPP9O9Wo/OVZpoxGI3mZ3fechQcdMY6LjrUMUwk8TJIokCtYkBWQgg+YP8/lQBe8yeS2leNQH3HywTwcep9Dg/hUmFm8uTc237wXpz2zThski6Bkdeh7giorTzgZklTaqyERndnKYGPp3GPagCG5kMF5AGZm8+cbQM4XCEHP41dqvNdLG0qJG8jxqGIA456DPr/hSxT7rya2ddrJhk/wBtCBz+ByPy9aAJ6KKKACvHtEL6X478Z6RFbGW0jv0vFw37xTPHubGeoyDxXsNeWagvk/GjXVxtFxpVpMP9raWUmuet8cH5/oz18tfNhsVT/uJ/NTh+jf3mnJcx/Z0ngP2hZDtjCcEn0OemO+aZDBK0iz3ThnUkpGv3E/xPv+lTxQxR3DXCRIJGGGbHUVI+zd8jL6lc8r+Hp710HkFax/1Un/XaT/0M1Y05o4bFrcwiRYZysYcnKoVUgDHbOcfSq9j/AKp/+u0n/oZqee3E2nzSRssdxEyskhHTqCD6igCfzov+fSL/AL6b/GlE8eP+POE/i3+NZUGpW72jTMy+ZGwSREbcQ+QMD15Iwfer1AEwmi/59If++n/xpszWs8Rin0+2lQ9Qxf8AxqOigCpZQXNhe5t7yV7OQ4NrN+82kn+FjyO/HNbclupzt4Nc9rumnUoI/KupbS4gcyQTR9UfBGcd+tamg6kL2NojLDPJCNkksLblLDrn0PfFerh6vPGzd2vyOOpDllotB9OPMLZ7fyp1yu2Q+h5pjfLC7HupAFdBmRRKzWqk8cDk8VKpRbjP3jsIPYcn/wCtTJCWi59Bx6UhP+kAdyp/mP8AGgDyHwtefGiT48alb63aqnglWl8lvLjEQi58oow+cuTjIJPfPavX5iVjOPvdB9adTOHfd1C8D61MY8qtcbd2BjRoTC6hkI2lSMgiueXTdS0Gcvoccd1pTEtLprttZCerQt/Cf9k/KfaukoqZ0ozWqN6GJnR0Wseq6O3f+rlDS7+z1S2kuLCUyCJtk8brtlgb+66/w/XoexNWd4dBtA2nkN3IwB+Wc/nWdc6HDfFr2zc6fqXklBfwfLIgPb/a+hquus32nrDb69olwFjRY/7Q04edE4UYDPH99Tj03V5tXDTp+aS3O+MadfWi9W7cvX79n+fkbNKjMjq6nDKcg+hplhNa6jAbjS7y3v4V+81u+4p7MvVT7EU6sDGUXFuMlZli4UTo11H1zmVfQnv9D+lZc/8AyF7T/rlL/wCy1eikeNt0bFTjH4VBfqjaraTwjCmOXcn9w/L+npQIuWtt5yPI8ixRR43ORnr2A7mpTdx2/wAtjGUPeZ+XP09KLnMOn28HIMhMzj9F/QfrVOgAZmZizEsT1JPJqzpkkMF4k8+4qnICjJJqJISU8yRhGnYkcn6DvTrl45Cphj8tFUDGeSfX8aAOpsdQtrwlYWbcOSrDBx61arm/DU8UV26SMFMigKT656V0lACMqspVlDD0IyK53xLpc0cIutNSP5DmWE8Bh7Hsa6OjrweRQB54bt1YB7K5A7soVgPyOfyFLHfWciBluogD2Zgp/I81bmXy5nj/ALrEfkahkhhkOZIo3P8AtKDQBDFLHDHfPMFaEOxkVgCGXYMjB68VesYobaxjuJo3eNkBjTdlUPcFjyQD+PT61iPpvnJcw29zJbJ5jKUUAocqvOP5c8Vq2UrAFb5TG/PlgfdmOOSv07g/TmgCSWR5X3OcnoPQD0FNprHblgNqcAgfwHgfkT09+PTLqACljdo5FkQ4ZTkUlFAEtyF8zei7UcblHp6j881SvYHm8iSGUQ3NvMs0EhXcFcZ6juMEjHvV+P57KRMZMbBwfQHg/wBKxZrHUWecw6tNEsswkC43BQP4RnoOnA9KANKfxNctAul6taIbuQFopbU5SQLycqeU49yPeolgjW9e4DN5joFK7uMA9QK58Wkja/8AYb3X7iCe7nDQMYSyPv3Hyz2CggKM/wB4Vq6VZ3MLq91qMl5JHEIWZ0C5YdTx6mgC1f8A/Hhcf9cn/kahvAUtY7qPPmQqCADgMpxuU/XH54qa/wD+PC4/65P/ACNRXu46b5a4BkCxgnoNxAz+tACwKrandSjBZFSHOen8R/8AQhUzF2vrSBDzLIVZcfw46+3OPzpLSBbeERhmduN8j8s5xjcx9eKlsh/xPIpMgCK3eRvoGX+tAFbxfvl0nUpFk2r9muWZQPvZRgOa4yuq8VyeRpF4GYlW06fgDPzbCR+hrlcUAer+Bv8Ajw1T/sOaj/6VSVv1z/gdgun6oWIA/tzUeSf+nqStu4uEhdIyrvI+SqIMkgdT7D3oAlqnqZ8xI7IH5rltpwcEIOXP5cfjSm/jjlVbiKS2RsBJJcBWb+7wTg/XrRZlLi4lvFbcn+pjI6YU/MR9Tx/wGgC39Bge1FFFABVK+AubmKxIVoyPNmH+yCNo/E/yNXcgDLEADqT2qno+ZLMXT/6y4PmMf5Y9sYoAuUq/eH1pKVfvD60AYemBTpujBo1kBypUjOPlY7vwx+tbnPvXP6FC95Z2376aGK3gCDy2A3O3Lc4yMDaOMdTWp/Z9uwbz/MnZjy0jk8emBgY9sUAWkZXUMjKynoQcilpEVUUKqhVAwABgAUtAEdxEJ4HhZiocYyOoplpJOS8Nyo8xMfOowrg9CPQ8cjt+NT0UANlkSKMySNtUdT6UkqM7J8xCqdxA7kdPwoniSeF4ZBlHUqw9qjkZojbwRbck4+cn7oHPPr0oAW5EbTW/mSMHDkxgHqcHP6U54IXZWeGNmU7gSoyD65qG3BmupLgyMUUmNIyo+Ug4J/HFS3MjRhFjXMkjhV9B3JP0ANAFTU97OjFCEWSMAlupLjt/WromjaZolYM6/eA7fWq2pBY7SJcnAniAycn74q53oAQ7UDNjGeSQOtRWsUSKZI4mjMnzMp65+nSmhrr7QfMWNYRkhlft6EEfyNLaz+a8sZKFkYEbCSCp5U/lQBWv4bhH+1wxm7kQkxxM+1UyOoAGCevJ55p9zuhePURGQQgWdBydnXPHUqc/hmrU0qQqrOcbmCj6mn0AIrKyhlYMpGQR0IpaRFVFCooVR0AHAqG9maFInBAUzIrE+hOP5kCgCSGGOEERoFz1wP8APrTZ3ykkUbDzth2ruweelNc3IuWKqrReX8o3Y+fPQ/pj8abi5c4OxGWTIcrkbPQehoARIXzGskMTR4BYBckP6kk/0zWVdrHJ4tSPzJIWWzO0Jj95lxuGDwe1bKySq379UVAgJkB4LZ6Af561VP8AyMw/68T/AOjBQBbBRYhHEVUL8gBJGO2BVa3QWtuJfOebaCgUMSGJb1Ykk9s1eYBhhgCPQ1FMsCmOSVlRYz8u4gKCePz/AMaAI2YR3UNvEwLHLSjq23HBJ+uKj1aSwiSKW+ulttr/ALqTzNjZPGB659Oain1CVoi9nbNIjHbHMcEOc/wr1PfB4Hvjmqp0yQsr3BM17P8AKXbpDH/Fj3wSB7njgGgCxaT6kIfOWAXcDnMW6QJLs7E8Y549Dg81LHLq8ynNnbWZBHMkxlz+Cgfzq+AFAVRgAYA9BRQBWaK+Zdpu4kB6skGGH0yxH6V5n4rtprb4xWZW6lY3OgsA8gDZKTcjAxgYYV6rXmXxJHlfFLws2SPtdhe2xIOMY2PwfXr+VYYjaL81+dj1sn96pVh3pz/CLl+gSfbLqbyoL5kRSRJJFGFUewzklv0H6VN5Udm1vHBHlppBHLI3zMy7Sx3MeTnbj8atxRpFEscahUUYUAcAUtuqtrFmZP8AVoJJD9QAf5Zrc8kpjTp7JpfsZSHMsnySISjDecHAxg1Zs7aScSpqE0boYz+7RCEJBBBOSSa2LDX8wsGtFYedJu+bvvPtVezuSt758g3INzMnHI9P1oAyNW0tLq3QI3kOjKY5I+nBB2kd1OORUlvcO0hhuIxFMBuADZVxnqP88Zq5LJmaRo18tWJIUdAPSqOryabq2oWscMc9uYnZmdMqpcLggMPr2/oaALJ4GTwKqSalZJJ5azebIeiRKXY/gKjjsImuLhLrddqpRlMr7woI4GOg5UnpUlmu69updoAUrCmPQDJ+nJ/SgBXuHKtusbnyyDk/KTj6A5/rWXGlto9lf6vpst0rxo0ssE0jKhI5OUPAJHfHpW/WO0On6l4wSxurdp/LszI4BIXO4bd+OowDgHI56V0YVz9olH5+m7Mq3Ly3fy9TplYXFpFPsI3IHCntkZxVO7JMEhPJ21pO21RgdwMfjWfcriVY+xf+XNeqcgS/cP4fzpjN++LYJ2/KAO5P+RTp8+U2OD2NJEibVYKMkZz3/OgAw7nnci+gPJqRQFTaOAKKRnWNS8jKiAcsxwAKAFpkzfJtX7zcClkJWLcvPQA9uadbxDeXY7iOrY7elAEm0RQLGOCeo9BUdK7FmLHvSUAY+o+G9JvbwXwhe0vl+7dWkhhlH1K4z+Oaikm8V2EgEkVn4itP7zt9nu1H+8Bsf8QK3aKyqUYVNZLW1jqpYypCKg9Yp3s/6ur9bNGTaa9od1dCzN4dOvzj/Q9RXyXz/ssfkf8AA1fWG5j8SWELRspkjkUqw4ZTtovrGz1CDyb61huYv7sqBh+tczrEN/4TgOraBqckcFuhH9n3QM0BDFRhMnchPHQ49q4auFcFzJ6Ja3/4Y7KLpYmahC6nJ2S6a+d7/g/U7O83Xd3JJGuIk+UMxwoUcDmoS0MR/dgSsP42Hy/gP8fypk00k23zDwBwoGAv0FMrlMRXZnbc7Fj6mkBwaKKALWliP+07ZXUurSYHOBnGRn8q6+uBuZpLeITQyNHIrptKjJzuGBj36fjXfnrQAlFFFAHLa/AYdRdv4ZfnH9az66rWrFr23Xy8eahyue/tXNQws7sG+RE/1jEfd/8Ar0AQabGrPdSS5ESzckdWO1eB70uoKt6Cso2gY2bf+WeOhX0xTUl8yW4VAViWYhFz0+VefqafQBBps7S26vKo8xcpKpGcMOCP89jUzL5ZABzGfunPI9j/AEP9Qaqvm31BXx+6uMKx9HH3T+I4/AVcUjBVhuQ9R/n6D8qAEopoypCsc8ZVv7w/x9f8MUrNtRnOcKpY4GeAMmgB0d1bWr4upliilHlknrz6Dvg4NVp7yCGbyWZmlz8qKhy304q3ZaSwlW/1W4FsxDCOLgsiMQeg7naOSauzagkarHZx42DAlk5fHt6UAZR0rWNS8tFt7e0VZklQXMnMmxg2Cq9iRjvUUkmp22t/YNTs7e3aaFp4vJnMuFDBSCcDnJ9K0rGdo9QindzkONzE5471F44iu7fxFb6jb25u0ktDAY1kClGD5DHP8JBOTyeOlAFPVHSPTbqSR1RFhclmOAODWbe6xY/YgEkaVleMKEU4kYMpKo3RiMjgHjNaH2O0awuLjWlN9ceWzJAvFvCQMjGeXPTkj6AVqfbIG02Gxi02zS1TayRGPKq2c5A7HPNAGYt9amxa8aTy4Uzv3jBQg4KkdQQeMVNpA329zM6tFcTzhJI5AQ8SKMqpB6dc/nVxI9Fn1VdSvNOC3O8SM0R+R3HRmXuR6/T0p/iS4t7S/h1VMizvFWG/ccbQOI5SO23JB/2T7UAZHiNt+h6o2BzZz/8Aotq46uz8TxPBouqxSfeWzmBx0P7tua4ygD0zwPb/AGhdXkuIw0Uet6gsSNyM/aZctj8cfhXSwW9vBnyIIos9diAZ/KsXwN/x4ap/2G9R/wDSqSt+gAIDKVYAg9Qe9UFVdOuuPks5cAKAAsL5Jz7Bs/n9av0jqroUZQysMEEZBFABvTzPL3rvxnbnn8qWqS6TpyJtjtUiOch48q4+jD5v1pTBqAXy1vk2Z++0OZMfXIGffH4UAJcsLucWcal41bNw38OB/B7k9x6dau1Hbwx28KwxLtRRxzn8T6mo7yd0ZbeABriT7oPRV7sfYfqeKALFJJIkKNLIcIg3MfYVTMN7A3mxXD3ZP34pSFH/AAEgcH65z7VVkmvptUSCax2pgSW6ecu1ypGS56jGQQBmgBfB6bPDVk3llHkj8x1PUMxyQfp0/CtasXw5cXSaFaiawdsR/KYZFYMMn+8RitW2uYLhcwyBiB8y9GX6jqKAHxSJIGKEkKxU8dx1p1MVNiMAx5JIJ7ZqIR3K6csRkWW4EYVn6BjjBPt3NAE0UiyAleQDjPY/SnU2JBHEsa5woxzTqAGGT9+IsclSx9qWRlVC7YGB1NOqK68sxiOVWKudpxnjv2+lAC28YjjzsVXc7pMd2PWlkXc8Z2bsNnOcbeDz70O6xkAg7emR65wBUayM2oNECdiRAsPcnj9BQBDrEaSQws65KXERX2O8VdrM1O5PlONoby7mIABxnbuGT1+v5Vp0AMkV2ljZXIVSdy9mGP8AHFVIFaPUpUXOxsNtHQcH8uauSPsAOCckAAe9NihjjlkkUHfIQWJPXHSgBk+JbhLdo9ybS7bl4OOgz65wanoooAZPKkEDzSEhEUscDJqhOL65eG5SHy4oSXEEhw8pxxnsMdQPXGcdKluFW51JLaXmOFFn2/3m3EDPsMZ+pHpV2gCK1uI7mIyR7hhirKy4ZWHUEUskypPFDtYtJkjA4AHUn8xTWUwiaSMF2kYEL74A/wDr1XtorhJGUXfnMT+8ZhwvPRR649/woALuRYZZI7pneG4I8sAfcwvI456jOfU1UtvNGrQBctJ/Z3WQYP3xyRk/lmtOeSeNv3cJdAuTg8k9lA/rWZYxzDxG0twFE8lmd4XoMOAAP896ANaISBB5rIz92VdoP4ZOPzqGWFncIbgEbt+wgH5eOP0/WrNZq2UUd9FNJI7XTKxaTJxgdhzx978vfmgCxa+askcTSb/LhIkx03ZGP0zVqqlnIk1vKLYjcGKlnU/MQANxHBP9aigN9YWyLdEXkaDDSxrtdR6lSTke4OfY0AaFFIjLIiujBlYZVgcgj1paACvNfi+pj8ZeBbzoBe3EGe/zxdP0r0qvOPjP/wAhjwP/ANhlv/RRrnxX8P5r80exkX++W7xqL76ci9SyiNI4RuBmdi20fwoARk/UnA+hp9tEZ50iBxuPJ9B3NVo5ku557yP/AFcj7YgO0afKv8ifxroPHGWH+qk/67Sf+hmrX3Y/dj+gqrYf6qT/AK7Sf+hmrcn+rj/3Sf1P+FAFO+3sIYkkMfmShSw6gAFiB9cY/Gqd7lZ4mthtisCGdV6NkYK/gp3flVm5kVtQtoQRuj3TPzyq7So/Mt+lQov/ABJZpSu1plaVh/vc/wAsUAXdM3JqWqTLgg28Uf0IY5/Rh+dSxRRhSseEJJYg9CSc9abpTL5mpsDlfLRf+B5XP6badQBBcXHkSBXhmII4ZE3c+mByDVGG7n0u6nv7jRbt5LtU8t4UD7IxkfNznr2ANbUMkYk3SICccHtn1I702dpGlLStuY9/b2rSlUdOakROHPGxn3TarcW0M1nemCbO/ZPHlcEdCAcjrSvqyvDawTQr/aL3Mdv5PJDFmxnIH3cZOfSrlNCqJlmCr5iHKvj5l+h7V0xxs09VdGTw66PUl8eWEWkRw69DeS2tlDIkd3bKjOkis20NgcggsPwHtTlKMgaNlZenynOD6U7UNUun02W3n2TxvtVg45I3DuKxxpwsJ5LjSN0e4bWtpJMxkZyMcZBHIBOadDFWXLUfoFSjreJr1wfx18C3/wAQvAb+H9N1YaZP9oSYO+7y5AufkbHOOc/UCus0fVFv/MiktprS6hP7yGUcgdmB6MD6itCu6cE1ys54y6o5z4ceH7jwp4K0Xw5eak+ozWMHlvcNn94c5wM84GcD2Arpn4UKvTufU01jtjX1L8flSDihKwBQOtFFMDxv4a+Evixpfxi1rWPE3iSS78NS+b9nhN4ZFkBb90Fi/wCWe0denTv1r2QUv14oP6VMIqKsht3dwJ7VzHj9DPFpFp/DPqcCsD3Abd/7Ln8K6auZ8UK8ni7wupP7kTXDkZ6uIjt/mazrycabadjsy+KlXV1eyb+5N/odAetFFFeQWFFFFACrBNMjmDIeJTKH/uleQf0ruBXF3UmLOOxicgTAyXRXIJXoqZ9+Sfb61o+HdUaF0068fKHC20p657I3v6Hv069QDo6KKKACuS1idZb6ZYuI9/QdC3Qmul1KZoLKR41ZnxhQBnk1yBjkH3o3H1U0AVbT/WXP/XY/+grViq9r/rLn/rt/7KtPVrm5klhsLWS4kT5WcACONv8AaJI9QTigAuolmtnjZtoYcN/dPY/gabpsj3MQQjdOh2SKvJ3Dvj36j61ZTSdMtyZb6b7dcn723kfTPQD2Apk0dsfltbVLIdzbsUZh6MwIJoAszQLZw/aL6aGED7sbnLFj04Hf+fT3FW41G8mYxWCx2sMg/wBZG3ykdwO5PYg4xUNvp0P2pZI1leXJILzO3JGCeTjOO9W59hcRhi0aAqcDG45B3A+2MD+oJFAEMUaRRiONdqL0HpT6b0IVjknlTjG4ev8A9btTqAJbOVIblJZIhKqnO0nrTtQuTd3bzHIB+6D2FQUUAQX/APx4XH/XJ/5GpIf9Un+6P5VHf/8AHhcf9cn/AJGprdWaJNoz8oyfTigB6Acs33R1Hr7VHOqzxvHModJFKsp6EHjFSOcAIDkDk49abQBkvczXXhfV9LvmY6jY2c+x263EGxtjD1IHFcxW744Ux6Wb5G2NFHNG3+0jxMCPz2n8KwsUAej+C9QuV/tm0j0yaUx6zfuHEsYDKbqTkAkHqCPwroPtl/8A9AW4/wC/8X/xVYXgdmW+1JTgrLqOpY9il7Jn8/MH5GusoAofbL//AKAtx/3/AIv/AIqj7Zf/APQFuP8Av/F/8VV+igCh9sv/APoC3H/f+L/4qj7Zf/8AQFuP+/8AF/8AFVfooAx9T1LUobb91o84lkdY0/fRE5ZgCQN3OBk/hT7Vrm2B8vRLku2N8jXERZ8ep3e5/OrUC+bqVxNIo/cgRR55IyNxP45H5VboAofbL/8A6Atx/wB/4v8A4qqeqTXri3mOj3aNDMpDJcxAgH5T/Fz16HjgVt0FVcbHUMrcEEZBFAHNeGLnWo9KtEfS2ng8oYfzolcdeo3YP6Vbu2mmuY3k8O3LyMpTzVuIwUUc9Q2RzVvw7/yArP8A65j+dX6AM57m+dAraLcEAg/8fEXOP+BU77Zf/wDQGuP+/wDF/wDFVfooAofbL/8A6Atx/wB/4v8A4qj7Zf8A/QFuP+/8X/xVX6KAKH2y/wD+gLcf9/4v/iqPtl//ANAW4/7/AMX/AMVV+kY7VLHOAOwoAxp7vU7VRLFotzJEgOY/tMXGTktncc4GeKdHeXNvA92+jTZZA0jieLnA/wB79PetaRmVQVUsSwH0yetNn2YTzACN46+vb9aAOI8U6bZS3Sahq/h+6aS4mSAul8qrjkLlVbHQtye9WNRPj6S6hubA2VuqwlGhutoR5C7c4VmPClP4uSp6Zrp9YVXtY1fp58XfH8Yq0wYyLwhQdc9c+1AHJrb+PIVkk87SbqXDCJZAQE+bAJPfjk8e1WU/4TZL+1Z20ya0M3+kqsZD+Xg/d+bAOcHPPHaulooA43S7fx+l/bf2hc2T2Vu6GRYwBLcDy235JJHL7cDC4A59K6T7Zf8A/QFuP+/8X/xVXqgvpXhtWaIKZThYwehYnAoAzNPu9QklnvDpFyyzMBEDPEMIox/e7ncfxq39sv8A/oC3H/f+L/4qrlvEsECQryEUKD60+gCh9svv+gNP/wCBEX/xVNa+u4ULHRZlXPaeLqT/AL3rUvzQJEskn7yacFmHTqTj6YGB+FW3VXG1hkZBx9DmgCgl7qBUFtEuFPp9oi4/8erNnutSbxEnl6TOG+y8j7RFyvmDP8VbPnuwgZNpDSMrbfmHGR1HTkDP5VRi8yHXI/OZ5XFidxUZJPmD9KAJLm41CWEoNIulOQQVuYgeCD13e35VHf3epPCYYtGnDyAjd50XA7/xf4Vqwszxq7IUJ52nqPrUZt1EbiNmjd1I8zOWXPpmgDNtLi+US/8AEolEzMDJsuIsKcDAxu9MVYa+vkUs2jzqBySbiLj/AMeq5H8khiWHYuNwYdCe/wCNGGkBSWNCjBg3Ocjt+YzQBj/ar7T2eRdGufsZ+ZkE0R8o56j5vu+o7dfWrkd/eSIskekTOjDIZbiEgj/vqrzh8KI8DDDP+7nn9KqiCe3uJHtViaGT5miYldreqkAjnv8AT3oAZ9sv/wDoC3H/AH/i/wDiq88+MlzdnUvBckmmTR7dZwoMsZ3kxkYGG4/GvRX1BYRm7t57cD7zld0a+5YcAe5x74rh/i86Ta54DhQJKX1sSgZ+VlWMk8jtzXPiv4fzX5o9jIv99X+Gf/pEiS5vr6z0ae4TSphPKhWImaPAHfjd3OB+dVraS6t7eOFdLmwigf62Pn3+9Wnq7W19qFvbRTCJeX8uQYG1CMAEf7RB596dNBLDzIhCnow5U/Q9K6DxzHsbq78p/wDiVzH99J/y1j/vn/ap9/e30dvmPS5lY7VBMsZxuIGcbverNh/qpP8ArtJ/6GaJgbjUXB/1FvhNv9+TCnP4dPrn2oAytP8AtStPcnS7hpH3IGM0eSAcZPPUkfTGAKsWN1cS6dCv9lyuhiCn97Hg8YI+9WrUc7PHBI0Ue91UlV6bjjgfnQBk+G7m/TSbjzNNlYtcsgxMnRfq30/HNXftV5/0C5/+/wBH/wDFVNZ2TWMXksT82JOTzllBP65qegCl9qvP+gXP/wB/o/8A4qn/AGq8aL/kFT5T/prH0/76/wA5q1Sq2056+oPegCj9qvP+gXP/AN/o/wD4qj7Vef8AQLn/AO/0f/xVX5AFc46dR9KbQBmXt1d/Zm/4lcw5X/lrH/eH+1U5urzP/IKn/wC/0f8A8VUt/wD8erfVf/QhUWo6glrIIVt7m6nZdyxQR7mxnGT6DPc1UYuTUVuKUlFXZS+3Xh8T2Nt/Z8savBKzkyKeBjB4Pr/OtsyFQGkiYLnA+YZJ9qTTFkRDfXsKwylNgUHJHOSB+n5UsbGU+cRtB+6voK9elDkgo9ThlLmk2N8yWRw5t2CgYUbhTt8n/PBv++hUlFaCI/Mk/wCeLf8AfQpd79RC3/fQ/wAafQOtAEe+T/ni3/fQo3yf88G/76FSUUAR75P+eDf99CuY8UTXK+L/AAyUtXdQ11lQyjJ8r1J+tdXXM+JHYeNfDEePlJumJ9xF/wDXrDEpuk7L+v62O7LmlX1dvdlt/hf57PyNP7Vef9Auf/v9H/8AFUfarz/oFz/9/o//AIqrtFeSUUvtV5/0C5/+/wBH/wDFUfarz/oFz/8Af6P/AOKq7TowGb5ug5P0oAzLO4vZHuW/sufAlIJaaPjCjA+9U5uJtvzaXcu2QV2zRqAQc5zuzT9LaW+vb+OMriMgxwhcbeoYA924DY6/NU9AGrpfiK6kTy7rTJRIP4jNEoI/76rVW9vmGV0ecj1FxF/8VXK06OSSM7o5HQ+qtigDoNS1G/hsZpP7InU7SAfPi6n/AIFXMLrGsKeLS8/8CI//AIqrU9xPOFE0zyBemT0qWzgQJ9queIFPC95D6D/GgDOj1fWVguJ5LCXD3HlxlmhYs21emTzgDJ+lPuL68WFIYNJmitMfIiSxgH1LfNy3rmq9pO17f31yzKY0uGjgRTxGAqhgPxGPwq/C6jKSZMbdfY+tAGf9qvP+gVP/AN/o/wD4qj7Vef8AQLn/AO/0f/xVX3jZJPLIye2Oc+mKnCx2ufORZZSP9Wei/XHf2oApC6vYLTd/ZU4eccHzo+E7/wAXc/yqt9qvP+gXP/3+j/8Aiq0ruUTTmRVKLgALnO0AdB7VFQBTF3dEbW0mcrnPE0YI9wc8Gmi7vBgNpcxznBEsfOO33uD3x71epCO+FPIJDdGwc4P+c0AU/tV5/wBAuf8A7/R//FUfarz/AKBc/wD3+j/+Kq0CVBJyVyc56r9fUe4/HFNsHM01zuO5Yn5UdQuBj8z/ADoAp3c99JZ3CLpM5PlP/wAtY+Bg8/eqRby7MSKulT7Aox++j546/eqxqLsdPuFzhfKfgdOhqqJ5rmPybMBVC7WuG6Kcc7R3P6UAO+1Xn/QKn/7/AEf/AMVR9qvP+gXP/wB/o/8A4qnNbzRRRtBM8kqY3mVj+9AGDnHAPfgdaltLiO5hEkZ/3l7qe4I7GgDG8Ume78M6pbzaXMEezmy3mx/L8h569qw9x9q63X/+Rf1P/rym/wDRbVyFAHqXgOCNYdXuMEyPreoLknOALqTgeg7/AFrpK53wZLHDperSzSLHGut6iWZjgD/SpK0Zry/KK1vYxhXA2+dMVcZ77Ap45HUj8KANGiqv2e78vd9ufzcdDGuzP0xnH40+1uPNLRSJ5U6Ab0znj1B7igCeoL65W1h8wjc7MEjTOC7E4A/z2yamdlRGdjhVBJPtVSxhMkj308YEsmPLBGTHH2H1PU/X2oAlsbf7PCAzeZMwBlkPV2/w9PQVPRRQAUq/eH1pKVfvD60AZ/h3/kBWf/XMfzq/VDw7/wAgKz/65j+dX6ACo7maO3geeU4RBlj6CpKivIFubSa3cArKhQ56cigCWiobGYT2cUmCpK4ZT1VhwQfcEGpqACmlFMgkOdwBA54FOooAKKKKAKGrRu0cbNINgniwoQf3xzk1fqrqn/HvH/13j/8AQxVqgAooooAKp3h8zUbKDG4AtMwxwNowpP4nj/61XKpy7rfUhcbcxTqsLEYyrbjtP05NAFymSSxx7fMkRC7bVDHG4+g9aZfTG3s5pwATGhb5un4+1MtbSON/Pc+dcMPmmYc49B/dHsKALBVWIyoODkZHSmCYGeSLgbFDEk+v9OKcroxO1gcNtOD0PpVa/wB00sVkGZVlDGUr12DtntkkD86ALFu8UkQkhIKNyCBgH3qizKviZdxAzZED3PmCrkplWWBY1TyySHz1A2nGPxxVNlVvE6EgErZEj2O8D+tAGgzBVLHOB6DNJ5i+UZOcc9Rj+dOPAJqNf39v86sm4YZe49RQAloztFuckgnKE9cH1+nIqWoruYQxbmjeQE42rjPQ+v0pIWj+yKyZSPbx7CgCSV1jjaRt21Rk4Uk/kKVWVlDKcqRkH1FUrAPFtDTtLFMzbNyksD15PQcA1Ziba3klcbR8uBxt5x+goAbcNKJ4VSTy0+ZnOzIIGOM9up/KvL/iGQvxJ8Ji1DXcEUN9drFHjKEqqZBJwRkk49c16hqEfnWM0e5VyvVhkcc8+1eZa7HEPjDbQwKVjs/DqqAe26Y/r0rnxGqivNfnf9D18nfLUq1O1Of4xcf/AG40LWGRrg3lwmyUr5aJuzsTr19Sefyq9DNLCcxuVz1HY/UUygckAdTXQeQLYzRtBJMYVSRZ5NrJwCd57dKkQW77ty+TI7Fi6j5SSecjt+H5VVtT+7dB0WaQfU7zzUtAD5InjGWGVPRhyD+NR1NbGbeVhVnJ6oBkH6ipbm3iinZWmVB/cHzMOOnp+tADdQz9oGf+eUf/AKCKr1Z1XH259ucbVx9NoqtQAU5VBG5vuj9fam0+JfMHlr9/JK+/qP0oAa7FmLHvSUUUAQX/APx6t9V/9CFVDb6rBrM95Y3VpHHMqq4lhLsdvTGCMd+/erd//wAerfVf/QhVbVpXkurTTIZXjku5DvdOqRKMu3t2GfUitqDmpr2a1M6ijy+9sWtLv21OGWZwC1vcSW5ZRhWK4+Yfn+hqzF8pZOwPH0NOtYYbG1itbSNYoI1+VB0AouVVZ0ccA8D8f/1V67t0OJX6i1Su9W0qz1C20+71Kzt7y6z9nt5JlWSX/dUnJ/CrteV/EX4M6f4y+J2jeNp9bu7RtP8AK8y2RARJ5T7k2tn5OTzwfzqZNrZFK3U9UooPJzQOoqhBRTi3P3V/Kk3f7K/lQAlc5r++Txt4Zt44y7H7U/HoIv8A69dLu/2VrL8GTHVfiFd36oBbafFJYQnH3pfkaVh9Mqv51zYu3sndXO/L24VJTTtaL/FctvxL0iPGdsiMh9GGKbXZ3ltDdxGOZQfQ91PtXIXML287wyDDKcfX3ryxkEsixRPK5wiKWY46Adai0+6mnSbzLYwDK7cvkkEZwcdD09eoq9bafNqCvEkW+NgVctwuCOhqrb262kQt1dpNmQXb7zn1PvQBICQQQSCOhFXNyX33ysdz2Y8CT6+h9+9U6KAFdWRyjqVYdQRyKSrSTJcIIrpsMBhJu49m9R/KpEtFth518AU/gjVuZf8A7H3oArrGkNv9ruUlaLOEjQfNKfQeg9zxVO5uNR1Bw0iR2ceMBQ25lHoB0H15q1czyXEm+QjpgAdFHoKjoAztCjiiiukgQpELlgoPsFBP4kE/jWjVHSUaP7ZGTkLctt+hCkD8M4/CtCNGkkEaDLE8CgCe0k2qzMPmhUtGfQnjH5nNVquyiJNMZY8N++UM/wDeIBJx7ciqVABRUvlKoXzJQjMAQNpOB70yVGjkaNvvKcGgBtFFV5rYvIzpcTwlhhthGD78g4P0oAmkKqhZ2CqvJYnGPfPaq4m094tryTL5wU/aYUZeAeMsBt69c8evrSLZD5RNcXE6KchJGGM9s4Az+NXpFYyiNVOQAoAH6UAZPiK2NvpVw1xeTvGYmEYDBPMYqcKSMEn2q9aosdtFGqhVVAAB2GKkvLe20/T5UWGKSQQOrLsB8tcEhQfYk8ZGOx7VNHAJIUe3O4ED5e4OOnv/ADoAiqtcQy/aFubby/M27HV8gOv1Hcf1NWaZPKkMLzSHCRqWY+gHWgDN1C5+1+HNWZYyrJb3EbLnPzKjA8jrXL12OoRnT/CGoptCXU9ncSy4/gDoxx9TnmuOoA9U8Fxxy2Go+YobZr2oOufUXUmDWhcq1zOIWt3jzKd7ZHzIFIDfTOOKpeBv+PDVP+w5qP8A6VSVtyqxw8aoZBwC3oetAEdnGUkmZZBJDIwdDxwe447cCi9tRcoNsskEq/cmjxvQHGcZBHOKnRVRAqKFUdAOgpaAKWrWIvLZgrOJQvyfvWCE9cMoOCD0OQetXV+6Pl28dPSsm61W4XWIrKzsWuogwW4kU48onv6YH+enOtQAUUUUAFKv3h9aSlX7w+tAGf4d/wCQFZ/9cx/Or9UPDv8AyArP/rmP51foAKKKKAKShk1dlhQiNk3T84G4/dYep4IP4GrtUIHSGS9vrhtmZREAOflU4XAHJJLHj3xU1tf2s83kLLtnwSYXBVwPoaALNFFFABTRIhkMYdS6gErnkA9DVaS4knkMFkRwcSTkZVD6D+836Dv6VNa28dvFsj3HJ3MzHLMfUnuaAItU/wCPeP8A67x/+hirVVdU/wCPeP8A67x/+hirVABRRRQAU2WNJY2jkRXRhgqwyDTqKAM29MmnxyTfNc2hVU+zk5dewC5+9nI4PPv2q5YRyw2NvDO++VIlV29WA5NQzsJNUhhZlURr5yju7crgewGSfqKuUAMeGOQruX7rbgQSMHGM8exNVbBh9me+mAV5NzMc52oCcD8BU95Mbe3aRV3vwEX+8x4A/Okht1WyW1lw42bXxwDnrj0oAhRDePFdLK0YRgQo9RuBBz2OetVrlg3iUW6yFJJNPbaQCcYkHNakrrFC0jNgKuck1lW0iy+J9+f3g08BwDwDvB6fjQBkx6D4ghWWG78TXeowTyhhuhVWiHLY+XGRuwBnsADnnLLTw34nTzre68XXc8MkYAmACyxvuU8YAGMDHTjJ+tdVczeXH8m0vuCgHufSsnXPEmn6HdbdVkkiR1zF5cZkyoIGTtGQcn6cHmgCLRdN1XT9Nks9T1641O7lIeKeRBuUqoyPlAGMgnGB1/Gt+MxyQqVCmNlBAxxjtXPapf6xcWtje6LawXaSZnRN+1zGYxs3bsbckkHrjj8KRvvH8REMWh6O0akqpErj5R04z3+vf25AOpgTy5pFVx5Qx+7AHyHqcfXr+NGniZbKEXEgll25ZwMZz0/TFcpql74t0+8mk03SoL+3nmG44y0Slc5wGG/DHHbIOcjbg9UpddPj87MchjVW287WOBx680AF0p3+Zuymwo8ZJw2SAD7Y5/OvM55Bc/GTxNKORa2Nnb5PYkM5FemzRSeaJIm+c7U6Dhd2SfyryjwxIuoeMvGWtwfNaXWpLDC/Z/JjCMR7ZzXPW1nBef6M9fLly4XFVH/Il83OGn3J/czpamtHSKUTSRCVV42E4yTUNPk+XEf93r9a6DyBbOXTmif/AEadf30n3XGPvn1FWHubMRFYrBS3993Jx+ArLsP9VJ/12k/9DNWKALltPNI22SQiCMF2VQFBA7cepwKpTL54ZZMtv684Jqyf3ViB/FM2f+Aj/wCv/Kq0c0a3cUbNhj8+MfwgjP8AMUAMMsi301pO7ySx9JGx+8UHAPHfjmpKi1C3l+2tcQsFnXKkOPlcZzg9x9f5021uRMWjZGimUDfG3Ue4Pce9AE9OjyAz5xgYH1P+TTQCSAOppzkcKvKjv6+9ADaKKjuBugkXcFypGT7igDPvrm9uY/L02xE0Zbm4llCRjBHTGS35Y960re1VLhrmQK1wy7N4HRc52j2zVHwvHPD4atILpGSaIFHVmyRhz3+mK2E/1g+tezClCnpHfv3OBzlPV/d2CT/WN9aWRVkthubbtYDOM8Zph5OaeT/ozDtuGa0EGwdpEP6UeW/YZ+hzTKKAFKsOqkfhSU4Ow6MfzpfNfuQfqKAGnrSU8uG6oopNy/3B+ZoArahcrZ2FxduCVgiaQgd8AmnfDNbddE0RoFy89vNczvtxvlkKux/UD8K53xPImuasvhWPIgVFuNSZT0jz8sWfViOfYGuk0u/jsNas4pMJAY5FGOAp+UDH+FebjJ3ny66frY9SnH2WHSuryd/NJXS+++3o+x21Vryyt7wKZFBKkEMPTPT6VVuNatUvobK3DXdxKCwWLkKMHlj2GRiuc1PQ7CMW19N9vg1ElZfJW9bZERg4O3AYAgdev4nPIZmpa6kbfz7PyNmWYRhD9wnt7/WscVRsNB0yJmiSO4KSsCwe5d8YJbjcTwSSSP8AAVatIVt7aOBGdlRQoLtkke570AS06NHkcJGpZj0AHJohjeaVYo13OxwBXRQQQ6NZSTuweVhj6n0FAGf9jh0+Lzr4LJKw+SAH9SazppZJn3yNuOMD2HoKLiaSeZpZWLO3U0ygAoopVVmYKqlmJwAO9AFexQtNcKiks0/AA6natX5WWFPJiYFzkSOO/wDsj2qGErbG6hjIMplxI4PA+VflH9TTaALM3Gm249Xcn68VFbxhyWfiJeXP9Pqas2crfYZo02b4z5i7kDfL0br+BqtNNLMQZGzjoAAAPwHFADJGLuWPUmppv3+x0GWCBWUdeBjNQUDrx1oADwcHg0VOryKf3zBh0Kv8x/8ArfpRB5LXSKIvkZwMM3bNAEcG3zV3cKOSfSpfMWBAsLBpSfmlHYY6D/GoXd2yDgewAA/Sm0AQX/8Ax4XH/XJ/5GprZmSONlODtH4/41Df/wDHhcf9cn/kakh/1Sf7o/lQBMreZsST/WbQu/8Av4zyf9o/rgdOhkuIYY7N4pVWSSdCMdQqnjPuTUUUbTSCNF3Fu1TySQq3kOxljA/1vTn/AA9+/f1oAwdQmefwtqDSkmZbKZZd3UOIznP8/wAa5eup8TRPZ2OpZBMFzZTbXB48wRNwfTKgflXLUAer+Bv+PDVP+w5qP/pVJW/WB4G/48NU/wCw5qP/AKVSVv0ABIAJJAA6k1l69f3FvpEt1pnkzyJ8xBccJ/ERzyR6VpsqspVhlSMEe1cVe2lwmoLp8aESyPwe23PX/Pv6UAT+GZrqymury6iuGtrgKwcnILZxgDoTjqeDxXXKdyhhnn1GK5+98KWtwlmI9QvrN7VGVXt5NpYttyTnPPy4/E1N/wAI6o8kR6xrEaRkZQXbYcAAYOeQOO2O9AG2SACTwB1JpFZWGVYMPY5rm9Vtv7OieFLy8mFy4bZNKXEYUHhc+pOT9KPDSq12/UOq5UjtzzQB0tKv3h9aSlX7w+tAGf4d/wCQFZ/9cx/Or9UPDv8AyArP/rmP51foAKr3k0qNFDAoM0pO0t91AByx/wA9SKsVS0td5nuHAaQzSIJPVAx2gewHHuRnnrQBF/ZqwRNNC009wrNKBLKdryHPJHQdeMdKkntZrgKftDBlXIb+7IDwR7YLA+oNXqppcSwJO99tVFlIhI5aRTyOPXnGOelAFtmCoWkZVAGWJOAKpBpr8/Jvhs/73R5h7f3V9+p+nNOigluJGmvARGdvl2xIITGeWx1Jz05AwKuUANijSKNY40VEUYVVGABTqKKAKuqf8e8f/XeP/wBDFWqq6p/x7x/9d4//AEMVaoAKKKKACiiigCK6t47lAsmQVO5HU4ZD6g9qbYSSTWcUkuPMK4fHTcODj2yDUzMFUsxAUDJJ7CsvSvtVzb27PHNaQ7Wd0b5WkLZOPUAZ68HIHagCyW+13qBAWggYszZwGkHAA9cc57ZxRM00Mly8k2y3YKUfALKx4wB35xxjvVqGOOGJYokCIowqjsKjvHSKNZJNuBIg+Y4AywGfwzmgAunWK3/eRtMDhWCpuznjoM8VUx/xUw/68T/6MFWNRne3hSREdiZVUhRng+vtUB/5GYf9eJ/9GCgCZNkaxeZK826QlX7ZOfTtUrNMLpAsKmPBDSEjI44wPrSCERqkcJ2IDyCx5GPzqFlmhukHnzTiaQja2AI1wTngZ7Ac+tACpDP54bCxxmQuwBGTjgdByD15q3TFlUzvDwGXBAzyc+1VopHM5ZIwyySFWbJ+UAAAD9f1oAtoqooVVCqBgAdAKZMrNJEFYgBtzY7jB4/X9KasUwvWmNyxhK4EO0YB45z17frUjMgBy4GOvPSgDD8dS65D4W1WTw/am51H7KVtowwHzngtzxwOa808Ea94etdNsfDyzS6feQRKn2a/jMMrseSRu4bJJPBOc17HEGksx13SJzn1IrNu9F0fxBolvb61pVrexGJRsnjDFeOx6j6jFYTpz5+eD121/rT8T1MLjMOsO8LiIPlb5rxet7WV09JJa2XuvV6mDFwxfHCjP+FMPWsD4l+G7rwj4am1/wAJ6xPYWenIsk2mTFp4ZwGA4ZyWU89jj6Vp6dcSXTNPkCLaqqoH8WMsf1A/A1UKrlJwkrNGeKwMaVGGIpz5oSbWzTTVrprbZp6NrzJLD/VSf9dpP/QzVqJGklWNfvMQBVWw/wBVJ/12k/8AQzWhaDZFNc9Ng2p/vH/62a1PPG3jK1wQhyifIh9QOM1nX+6N7e4U/ckCsMfeVvl/mQfwq3VXUQ2yGQAlY5lZwBnK8j9CQfwoA1Vja9iLJ81xGPmXu6+v1FUNR0+8ZI7iOBlkhcMrMpAI/iUnHAI/pV2XFrGYVYGZvvupyAP7oP8AOoY5ZY23RyOh9jigCK0lElsk+1kaRThTjIHIP9aUkAEngCmWd5OUeymkjdoWwuUXJU8g9PcjPqDV6eztdS04I6CDbIokVWJ89e4IPIHTpWlKHPNRuTOXLFsqyWeoPcR+VJbRW+AXZgWc+wHAH1q1caXp9xNHLPbLKY/uBySoPrjoT71cAAAAAAHAAor16cI07cqs116nDJuV+bUzJ9qTTKxwWlGABk/Nj+tOjljMqhZASxIGM9efy6U3UZQZ2RrZjsxiUE5HfjHsD+NVYpY4YlHkSHGDkDqe/wDP+dUBdpzHFrKv9/Cj8aaOnTHtSSFfLCkEneMY/wA+1AC0U/KYxtI980m3P3WB9uhoAbRQaKAClb7x+tJWb4l1b+yNPjnWB7ieedLa3jUgbpX4UEnoM96Tdk2XTpyqTUI7sy/CflT6j4g1CMcz6iYs46iJFT+e6tC8giuNZsBJGHKLI6Z7MNuDTPDGnPpWjRWszI07O80zJnBkdizYzyeTjPtVq4ymrWn94xS/gPlrxG1Jtrr3PUxMk6rtbSy020Vr/Oxfima3nWSBsMn8WOvr+FNuZpLidppDlmP5e1R0UjA0dH8lbe8kZf3qREqT2HQ/0rNq3YhCHjkfYZl2IewOQefbtVaRGjdkdSrKcEHtQBLYQzT3cccGQ+c7v7vvVjWrw3V2VVsxRnCe/qaltz9i0drgcT3B2xnuF7msygAoopGKqpZmCqBkknAFACjk4HJqyWFopVcG4IIZgfuD0Hv61EZre1g3tcQiVjwxkGIxgk8+uAfpiq6zQs21Zo2JOMBgTn/INAEdp/rLn/rt/wCyrViq9p/rLn/rsf8A0FasUAPt5WhmEi4OOoPcHqKddxpHIPLJKOodc9QD2qKrVwuIbeUjgxYH1DEUAV1Xjcx2r+p+lG/GQg2j17mmkknJOTRQAU+3JFxGR13jH50yprVgglk25ZFyv+ycjn8KAIn++x9zSUUUAQX/APx4XH/XJ/5GpIf9Un+6P5U28R3sbnYjN+6foM9jVqC38uKNrlgg2j5M5ZvbHb8aAHx/urN5N2HkOxR/s/xH+Q/Oq9Pnk8x8hQqjhVHRRnpTKAMnxQzw6HdFFjZPJmyjDpmJ+V9Dk59OtcvXR6zEbjRNZFyzOYYpzHtYqFHlZHQ89e9c7QB6T4UuLyK01Mxxwxwf29qCtLJliM3MmGwO2cDk+9dTbzRzR7o5FkAO0svTI61h+B+dP1QEZH9t6j/6VSV0HbHagBk8scELzSNtRBkms3RYnuJn1a4XEkoxEp/gT/6//wBfvSaoGv8AUodNUkQoPNuOvI7L/n19q1gAAAAAB0AoAKKKKAM3X7Jrq3WSPmSLJx6jvWd4Ymjju3jYHfIMKfpyRXR1z2tWTWc4vrUlV3ZOP4W/woA6GlX7w+tZukXc147StGUQIFPoWz1FaS/eH1oAz/Dv/ICs/wDrmP51fqh4d/5AVn/1zH86v0AAqtpwZIpIS2RHKyrxyB1H86snODtxntnpmqei86bESVMh3eaV/wCemTv/APHs0AW2ZVUszBVAySegFU7GMzN9vnU+Y+fJU/8ALNO34kck++O1JIft8jQoT9lRsSsP+WjD+Ae3r+XrV6gAooooAKKjjmWSSSNc7oyA34jNSUAVdU/494/+u8f/AKGKtVV1T/j3j/67x/8AoYq1QAUUVDfSNDZyyLwwU7T7ngfrQBNRSRhgiiQgvgbiBwT3xXOpqPixFk8zw/BMfl2FbhUySOcgk8A55zzxxQBuagsT2Fwk7mOJo2DsOwI5pbR3+wwSXCiGQxpvUnhWIHH58VzN7qniKRFFx4dSIJIQN1yCjSBSY8+xfb7DPPSnWl3r13cTXk+hQTxiX/QGE4C+XniQ5PBIOc4zxigDqqZLDHIyNIu7bnAPTn1HemWbXD2yNdRLFMc7kVtwHPGD9MGpQylyoPzDGR6UAV7qSdbq3jh24Ykykj+EenvkioP+ZmH/AF4n/wBGCrizIbhoM/OoBIyO/wCtU/8AmZh/14n/ANGCgC1A63EKzNDyCSoIz9CD9KfBIJolkClQ3Y4z+lPooAqwnde3aBl6LyHJZeOPlPA+o609Ldkj2rczBvmyxIOS3fkdu1T0UAV1kaJwk8yPK4OxFXbnHp+YqWJCqYc7mJyxI71SvtS0bTJma+1CztJdqkmeYKcMSB1PQkHgelVJfEGg3SQRx67YbLtAYwJRukBYKNvPckAeueKANa6nW3i8xgzHOFVRks3YCkso3itUWTHmcs+OgYnJx+JrE8R6s+narZRW9rJO3CiNBksGODtGRlgAMfU1u20ongSZUkQOoIV12sPqO1AHO/FPS7rW/AGraPZbPtV5EsUIc4BcupAz+FcDaX3ivQ7OGx1TwDq7iFAnm6fKl0HI6tgYbk/zr1eP/TL0TA5t7ckR+jydC30HI+pNSeW0TSXBTzp2G1VVsZUEkDk4BGeTWM6LcueMrP5Hp4bMYU6H1etSU43bV3JNNpJ2aa7LdM8itPE+oxxO8ngXxYsPmOzSfYc7RuOcrnPH0rq9F1fSdZ0CyvtPmlnt5dz8IUO7OMHPTGMdKzPHHiS881vCnhuWOTXrxplu5VJKafCXYF29GwTtX1OasaHptro+kW2l2S7YLeMIuep9Sfcnms6Upuo43ul5df63OrMKWFjhIVFT9nOTulzN3hrq09ru3L3Sbts3p7rU5zDKvoRID/SppGS1jQQBvMlTcXbGVB7D0+tVFVnYKoJYnAA9at3U9u8ojaEMkYCK6NhiB+n6V1HhGKFexf8Adq72h6ooyYj6gdSvt27cVbikjljWSNw6N0YHg1aMcLn9zNg/3ZeP16fyqhZq0XnQSLsljlfep7bmLA/iCDQA66ht5kJuI0ZVB+Zuqjvg9RVnRLPy0S8kkd5HhCIH5KJktgnuTkZ+g9KzbqMataXVpb3Sxpt8t2AyxJ/kMZ+v0rY02NbeKO2hXEMahVHoAOK9LB03BOb66fI5K8lJqJdoopkrbYy35V1mRFdThUKryePw5qnuZLgqWJV8svse9Ok+4fw/nRKm8dcEHKn0NAHlZ+NFkPjkPhj/AGDd7jJ5H27zB/rNm/7mPuY/iz74r1ZV3bpD90fKPc1SOlWf9pf2w2h2z6p5XlC7SOPzSn93eRuA9s1yeq+J/HVhI8z+ErW10qJ/3k9xKWKqTyx2EnHPYGs+bkTc3td/I6sPhZ4mSjStdtLdbs7miuUl1HxuFjuLfSdBu4WAO2G8cMwPcMwx0rS0LX49RvJNOubO407UYo/Ma2nAyyZxuRhkMM+lTDEU525XuVVwNWmpN2ajvZp/8E2gx78j0NKAGztyD6eteWTfGbSY/javwxOj3pnLiE3u4bRKY94Gzrtx/Fn8Mc16kDgg+laRkpbHI01uJXO/EFR/YCTq3+k293DNaJjPmzhxsTHuTiuglY7yseCfXsK5zUyNQ8XWGnIzOmm/6dcNno5BWIfX7zf8BrOvJRpu9/l56HZl6f1iMlb3dddtNbfPY7q5ks9PtBHDFF9sKjdzv2HHPJrn7jZcaxalQscpilyM4Vj8vT0NS1Tn/wCQvaf9cpf/AGWvILZdZWVirKVYdQR0oVSzBR3qRZQwCTAuoGA38S/4j2pG2Ip2SBy3HAIwKAGSNubj7o4H0q5An9oeXEzBbhcLuP8AGv8AiP5VSq3aH7Pbvd5xIT5cXHfufwH86ADVZ1mudsf+piHlx/Qd6qVYnRZI/tMQAGf3iD+E+o9jVegBY0eRwiKWY9hU7W2ntG0N5IZCR0RdyqffkZ/lRMWgiFuvysyhpfU55A/Kq9AANB00oVgktZQ0vnbXJU79u3Iz3xUJ0FbdkmNrMNhBVg5YAjOOQcd6mp0UkkRzHI6H/ZOKAKtp/rLn/rt/7KtWKdCouFuriMASLL+9QDH8K/MP600AkgAZJoAKlmkfy44C2VjzgehPJpY3SFuY1lPfkjH0I/nTj9iYf8vEZ7jhh/SgCvUqW8jLvYrGnYucZ+g6mniW3hX9xGzyf35QMD6D/GoHZncs7FmPUk5NAEwitv4rvn/ZiJ/nipLc2aSbfNnKuNjfIAMH8aqUUAWJPs0bshglLKSDmQdfwFPtriIShWghjU8b9pYqfXnNRXozOZVwUk+Zcfy/DpUNABrEtyLS6jlkfIicEA4HQ+lMh/1Sf7o/lUt7m60u4j6zRwPs/wBpdp4+o7VFD/qU/wB0fyoAfUc8scMRklbag6nGaeehwMn0qpsubmWB5oY4Ujbft3b2JwQPYdfegCndxPH4X1VpA4ea3uZWVuq7lYgfgMCuarrPEkix+H9S3dTZz4H/AGzauToA9X8Df8eGqf8AYc1H/wBKpK3ZpFhheVgSqKWIHoBXOeCoZHs9VZbuaMf25qPyqEwP9Kk9VJq34mjuotFn8m9uGkbChSE+bnkfd7jIoAm8NQt9ja9kKtLdN5hYDBI7Z/X861KzdIt706XbfarieCfywHjHlnafT7tWvs8v/P8AXP5R/wDxNAFiiq/2eX/n+ufyj/8AiaPs8v8Az/XP5R//ABNAFikYBgVYAg9jUH2eX/n+ufyj/wDiaPs8v/P9c/lH/wDE0AWKhs5pppJRLaSW4STahdlPmL/eGDwPY8037PL/AM/1z+Uf/wATSrby7h/p1z19I/8A4mgCv4d/5AVn/wBcx/Or9ZHh63l/sOz/ANOuB+7HaP1/3av/AGeX/n+ufyj/APiaAHX04t7V5cndjCADJLHhQPcnFU4UbyodOgZ1EIX7TKODnqVz/ebqSOgPriq2qQ31xewWNrdXGFImmnYR4iAPygDbyxIz7Y561ftrBreBYY7662qOp2Ek9yTt5J7mgC1FGkUSxxqERRhVHQCnVX+zy/8AP9c/lH/8TR9nl/5/rn8o/wD4mgCxRVf7PL/z/XP5R/8AxNH2eX/n+ufyj/8AiaALFFV/s8v/AD/XP5R//E0fZ5f+f65/KP8A+JoAbqn/AB7x/wDXeP8A9DFWqzdUt5fs8f8Ap1x/r4+0f98f7NWvs8v/AD/XP5R//E0AWKivI2mtJoUxueNlXPqRxTPs8v8Az/XP5R//ABNH2eX/AJ/rn8o//iaAH2kyz2scy9GUH6HuPzqWs2ztnjvLuFL+4xuWXbhOCwOf4emRn6k1a+zy/wDP9c/lH/8AE0AR63tOk3Mb7T5qeUA3cv8AKB9cmrFtDHbW8VvCoWOJFjQDsoGB/Ks6/gljure4m1C6+zR53YWPCOeFZvkzjqM9s5PrV37PL/z/AFx+Uf8A8TQBYqNIytxJLuyHCjGOmM1H9nl/5/rn8o//AImj7PL/AM/1z+Uf/wATQA+UQxb7p1UFVJZ8c4FZlhJNLryyTo0btZtlCOn7wdParjRyG4+zm8ucGPdnEeDzjH3az7axa312O3ivbkIlgQuRHnHmD/ZoA1bprhVfy41K7chskn34HOfT+lQWbT28bPeybE9XYEKSxwM+gGOTUF0t098lkl5eKGXe0ixpwB1GduB26En2qebYkwt5NSn3uCdhWM8YJ5+XpwaALdwsjQSLG5jkKkKwXJU+uO9QWHyIVk3CSRix3dW4GTjtVBIbixESx300lnI6rH90PHuPA+5yvPtjpWj9nl/5/rj/AL5j/wDiaAKt9o2iXWopeXmmWs14RsWZosvjB4z2GM/n71G3hnw816t6dGsvtKEFZfKG4YII5+oH5Ve+zzf8/wBc/lH/APE1U1ef+zNPkvZru8dIyoKose45YDjK+9AD5tMtb6OVdQtxKDc+cuSQQVwFII6cAVdud7W8uyQRuUba56KccGsnQl1e4iuX1G5ljxcutvtWP5oh90nAPPX/AAq3fWMlxZT25v7gCWNkzhO4x/doAZp6w2unx3MjZAQ+WOm1DyEAOM9uTyahmk/s3TLq+uJpjMySSl3GSiqC3QHAAA/P1qxbQ/a7S2uPtk7AosiZWM7cj/d681W1mx+3QHS5L26ZbpSkwXywRCfv87eAen40ne2hUOXmXNseZfCyBW8Lx6zNGP7Q1V3uruY8tIzOxGT6AYAFdZ3rkdK0q88L+LrXwlb61JdaTLa3FxCJUXzrRY5NoBbHzhj04Brrf3kYItru4TI5dlTd+Hy8Vhhf4ajazWj9T1s8TeMlW5uaNT3ovX4W2krPVWta3lppZloD7LGSxxOwwoHVB3J9/aq1V/Im/wCf2f8A75T/AOJo8ib/AJ/Zv++U/wDia6DxyxVS5+y3N6li5dpwgkcoSNkYPCsR2Y549AaZfubGze6mu7hwCERFVMyO3CoPl6n+QNXLe2WMtIGbzZMGVyqhnOO+BXZhaHM+aS0/UwrVLe7F6kljawW0aw28axxg5IHf1JPc1MXbOc4x0HpTY1bJ/eN909h6fSm7W/56N+Qr0W23dnKklojRU5UH1qG8bhV/Guf8JeNPCviW/vdL0HxFa6he6eSt1DC2Wj5xnkcjPGRkZraugxlx5jcD0H+FJNPYZFJ9w/h/On9TiopFbYf3jduw9algjZph+8b16D/CmBfHAxTZEWRGjkUMjDDKRwRSbW/56P8AkP8ACja3/PR/yH+FAXOIggn8J619hnm3aDeyBdPJP/HpIf8AlkSedrHO0k+gqPwwkl9411u+uyTJYMtnAN33VI3nj3yv/fNddrmk2us6Vcabfb3gnXa3QEHswOOCDyK8wgl1Xwr4puZr1pbxhEiX+wDM0I4juVXHJHKsOvQ968+pCNCqqjenkvL8j38M3jaU4xS9py2d3vqndX69H636s9AOi6OdbGuHSrE6oE8sXnkL5wX034zirjks3lq2D1Y+gqDT7u21CxivrO7E1vKu5JFxgipYlbaW3sMknoP8K9C1jwXfqSptRdp4Qcn2965nwQUurK81ofM2o3ckgc9TGp2IPyXP41vX2Y7KeRpWAWJiTx6Gud8A2ckPgvSEW6mUfZVbG1e/Pce9cGNl8Mbno4WNsNOVlvFX67N/pqdJVOf/AJC9p/1yl/8AZak8ib/n9m/75T/4mqk8Ev8Aa1r/AKZN/qpP4U/2f9muEk06Kr+RN/z+zf8AfKf/ABNHkTf8/s3/AHyn/wATQBYUZYDIGTjJ7VZ1F4zMIYSDFENq46H1P4ms7yJv+f2b/vlP/iaPIm/5/Zv++U/+JoAtRSNE+5T2wR2I9DVn7OjSLcJgW2dzZP3fVT7+nrWZ5E3/AD+zf98p/wDE1LbLLGWV7udon4ddqc+4+XrQBLI7SSNIxyWJJptMuLOaJxi+mdGGUYKmGH/fNReRN/z+zf8AfKf/ABNAFgAk4AJPoKn+yyKN0xWEf7Z5/LrWTfx3CWrbL+4QsyruAQEZYAkfL71P9nl/5/Jv++U/+JoAtadPDazXTQq0snmkbn4UfKvbv+NS3LRBz5AKhhkj+7kfdrLsraZ5rhReTD98cnanHyrz92pnhlZyReTgdvlT/wCJoAnoqv5E3/P7N/3yn/xNHkTf8/s3/fKf/E0AWKKr+RN/z+zf98p/8TR5E3/P7N/3yn/xNAFinwRNM5VcAAZZj0Uepqp5E3/P5P8A98p/8TU9zDLGBbpezYXBc4T5m/757dKAJrmRXcLGu2NeFH9fxqKq/kTf8/s3/fKf/E0eRN/z+zf98p/8TQA69YrZTsOCImP6GrVyqpKQnCkBl+hAI/nWbfwTfYbj/TJv9U38Keh/2aufZ5pbGCZbycmNBG/ypx/dP3fw/CgB1Q3M6wrzgseg/wA/57VDJHcbxFDdTySnooVDgev3f8/nTILGUN50l5MZDz0Q4/8AHetAEGsQs2galLP8zfYpcA9sRtz/APW7Y9ea5iuo16GUaDqR+2TH/Q5uNqf882/2a5egD1fwN/x4ap/2HNR/9KpKs64I7i/02zZsMZvNwOvyj/DdWP4V1S3tbPVIV3TXP9uaiBCgOSftUnX0rc0yzuvP+26jIHn24jQDiIHOfx5x9B3oA0qKKKACiiigAooooAKVfvD61VmkZr6G3jfGAZZcHnb0Ufif/QTVpfvD60AZ/h3/AJAVn/1zH86urIjTGEN84AYj2PQ/oapeHf8AkBWf/XMfzqDxNL5FvC0Oftc0ggh253NuzkfTA/DrxQBb0pSbY3D7TJcN5rEDHX7o/BQB+FW6SNEjRY412ooCqPQCloAKKKKACiiigAooooAq6p/x7x/9d4//AEMVaqrqn/HvH/13j/8AQxVqgAooooApynbrMG3GZIJA47kKVwfwLEf8Cq5VW4E0d2LiOHzlMewqGAK8k5GeDn+gp6XcLWbXTExxoCZN4wUx1BHqKAG6ptaxkhdHfz1MIVOrFgeM9uM81LapJHbRRyuHkVFVmAwGIHJx2qrp9ruYXt0hN0WcqWJzGjE7Vx0BC4Bx3Bq9QAUUUUAGBnOBn1rP/wCZmH/Xif8A0YKs3sMs0arDOYWVw24DOQO1UYvO/wCEnYSqgUWZ2ENnI8wdR2/WgC/bvbzO80IBYHy2fbgnHbJ60tzcwW6hp5VQE9T/AJ9qfHGkaBI0VFHZRgVWm/s1r77NLJbfbJEB8ouPMZR3A64ouNRb2Q+7tI7mGeN2dTMoUsDyAOmPx5pLKaR3lt7jb58ONzKMKwOcMPToePUVZqpaKx1C+lIwN0cY567Vzn83I/CgRbqnrWqabo+nSX+r3lvZ2iYDyzMAoJ6D6+1XK8t8czf8JL8RbfQiom0nQohc3sbgFJLpx+6UjvtXLY6c9KyqzcErbvRf1+J35fhYYio3UdoRTlJrey6LzbaivNiTeONe1OZh4C0qJtO3F/turK0cLknJESrhyCc8ninp4v8AiVa/NceFtAvgOdtrfvGf/HxWsOAABgDgAdqWo9jJ6ubv5W/KzOl5nQj7sMNDl/vczfzkpR19LLskY+ifEbW4UNvefD3WFVHIAt545XXJyMrkdj19qH+JtvDq2pNbeF/EkmoSQQRwWc1kYyXBk+82Sqrlhz7Grl8DDKl6uQE4mA/iT1/AnPr1q/qUS6ppv2uJg15bruEitguvY5HUcYP1o9lU6T/Bf8ASx2CbvLCr5Sml87uT+5r1OZ8I6bf/AGu98Qa9Os+tXzFZgn+rt0VyRFH7AknPc10dVNKk82080AgPI7YPbLGrda04KEeVHDi8VUxVV1am/loklokl0SWiClRSxPQAAsxJwFA6knsKWKN5XCIOfU9APU1D/pbyzqB5NrsEax8FpSDkuT2B6Bc+55rqo0HVbt0OKpUULEVjLHqW278hhbxOfshkXG/jmUDqM9B/sgepq/SKQygjoRxTlBY4FeqoxirRWhx3b1e4q8KW/AU08gg8g9ac5HAXoKbTA4P4YfCXwn8PfEeq6/of257rUAUKzzBkhQtuKoAAcZA65PFd9I25y3TNC/xfSm1MYqKshttu7Gy/cP4fzqbTiXHmHqRVedl8tl3AE+9W7JVa1+ZQQ4wR7YqhGN4T8c+EvFd/f2Ph3XrTUbnT223McROU5xnkcjIxkZFdFXF+APhd4J8C6rfap4Z0j7HdXq7JHM8kmEyDtAZiAMjPrXaVMea3vbjdr6BXO+NNAbVIoNRsSI9VsNzWzH7sgI+aJ/VWroqzfE2qR6NolzfyH5kXbEo6vI3CKPUkkUqluR32N8K5qtD2au7r5+T8jgvh5qNnHqs2kW5dLS8Vry0ib/lm4bbNEfQqw/HOa67X9YstEshdXhkYuwjhiiUtJM56KoHU1xX9i6ppeq6S2k6aL7UbexuJLqdpNsazTMoMjk9s7ugOeK6fQ9Ge2EF7q11/aWrqhV7phgLk5IReijtkAE45rgpYpQpJK7d+v3/8D1PYx2HoSre1clytbR11Ta1vte17tXd07XZXksdY8RIF1lm0vTnxusbaXMsqnqssg6D/AGV/OugW3itV+ywRrHDD+7jQdFUcAflVmwt3uZ8Lwi/M7dgBUDsXdnbqxJNc0pyl8TuclSrz6JJLsv619WJVOb/kMWn/AFyl/wDZauVTn/5C9p/1yl/9lqTI0Wtp1l8vy2LYyMcgj1+lREEEgggjqDTvMk8ryvMbZ/dzx+VSyjz085fvqo8xe/HG6gCCiiigAooooAnt5FKmCY4iY5Df3G9f8aimjaKQxv1Hp0PuKbViFlnj+zyEBx/qnPb/AGT7H9KAM/UU32M3zFSqlww7FeQfzFTQt5kSPjl1BwPcU6eDzIZY5CYwysh45yRiodPmZrQR7fLaM+W4HqOOvpQA62+Rrlf4jN83t8q8VJVe0/1lz/12/wDZVqxQAUUUUAFVLfMN5JbHOxx5kXOcf3h7cnP41bqteq6qLiFS0sXO0dWXuv6ce9AF+yCm5VpBlEy7fQc1EzFmLN1JyafayI+mvcROGWUqqkdx1P8ASo6ACiiigCC//wCPC4/65P8AyNS208kQjjhj82SVAvl44YH1/wA9ar6pIEsZ16u0TBV9eK6jw3pX2KzS6uUV7soDnuo2jj0z16dM49SQCHSY7DSUka4m33hzv4zj2HbPSsc9TjpSuzO7OxyzEkn3pKAKOv8A/Iv6n/15Tf8Aotq5Cuv1/wD5F/U/+vKb/wBFtXIUAeqeBI41tNWkWNA7a3qO5gOT/pUnU10VYHgb/jw1T/sOaj/6VSVv0AFFFFABVee5ZZfIt4TNKMFvmCqgPcn+gBNSzyxwQvNKwWNFLMT2AqHTonjgMkq4mmbzJPYnoPwGB+FABDbzNKs11PvdfuxxjbGp9cdSfr+VWGZVUsxCqBkk9hS0yaNJomikXcjDDDOMigDMjV4ZBq8in99xMD/BF/B/3z1P+81aiTQlhiaM8j+MU6o/stq3ytbQEHgjyx0oAqeHf+QFZ/8AXMfzqvfmOPxPpsszABoZIoQf75IyR+AA/EVH4c0+3XQLFYGmtwsY2iKUqB1/h6fpUOr+c+paTaTSwx3Ud2JopicCaJRh1x/fIYfL+PY4AOhooooAKKKDyMUANjYsXyjKFbaCf4vf/PpTqbGVKDZnb2zTqACiiigDP1u5gggjE0nljzozuYEKBvHfpVi3vrK4Utb3lvKo7pICKbqn/HvH/wBd4/8A0MVYljjk/wBZGj46blBoAVSGAZSCD0IOap6zq+laLai71jU7PTrcuEEt1OsSFj0GWIGeDxSS2sltIbiwJC5zJbAKFk55Iz91se4B71Kslpeo8bIkhjOHjlQZQ+4P86AMf/hMvDF1o2p6hpfiLSb+Owtnnma2u0lEYCkgttJwCRXk/hc+OpvDdn4hXxgJWuYvtE1pqFsJIW5yASCDjAFaej/Z7X9kmGZYI1MuhGIlUALM7lBk9+WFcveT6t4XbUdCsbq71OGLw1Fe21vcFXMVwrsgCkAYQ7V+U55+tcs4+0rWbei6Nrd/8A97C1/qmXOpGMW5zt70Yy0jG7WqdviW2uh6BB428fWSIdR8H6fqiEAl9OvTG3P+xIKtQ/F7w3BLHBr9jrOgTykrGt7Zkq5AydrJkHHeuJ+Guoa5qFzp99LeTXWn32l/aLk3N9BMTPlcPCkYBRMl1KngEAdc0fFHSjrHjHwXaR3UlpcrJfTWtwnWKZIAUbH8Qz1U8EEjvVeyqL4Z/ek/8n+Jh9fwdRfvsMvWEpRf480fuies2Pjjwbewia28U6OyHON12iH8mIP6Vbj8TeG5ATH4h0lwOu28jP8AWvA7Dwt/xdPS5fFFppl5qGp6Tf3F3bQx7rRGjktliWNWHOFZvmIyS7dsVl6Lo+gTWfgzWfL0+81XW71oNT0nyYfLgX955iqiqGQw7VyxJz36ij/aPL8R2yl9ai+UX+qv9y9D6esb6yvo2ksby3ukU4LQyq4B98Gs/ULyz0/WZL2/uobW2isC0ksrhVUeYOpNfNtnb29jZ3OvaPrcmheJD4i/syOxs2WNUjFz5Yi8nqxMX7ws2c9fu11elWereJ/iHq1j4x1htZh0aSNYYFhEcDM0UThmQdeHBwT1zSdSstOXX10+fX8BxwmXTftFXagt04+/6RteLv3clbex1+p+Ndc8VSSWfgyM6dpfKvrdzFzIP+mEZ6/7x4rA1nwn4V0nw/e6lqsNxeTxIZ5b+adjdO46YkzkEnAAHHNM+GWpXLXV3oerXl1daxbWsNzcSC6jntJEkLBZICgGxTtPyMAQAPqes8T6HZa1o7abqHnKXdZFaJyrxMpyrD3z2NTPD3i3L3pee33f0/M3w+cKnWhClejRur8r95q+rctG35aRXSKNz4T2Gt6f4GsI/EN7c3V/KDMwnfe8KtysZY8kgYznvmug0sH7KzlixklkfntlzxXl0HjbxZ4V8631y2/4SHToMf8AEzhj2zRDGcSxr97t8y9M5NJpHxdsPIksdPsLrXr1i0kC2CFlUMScSFsbduQPf2p061OnFQk7NdHv/wAH5CxuWY3F15YinBTjNt80PhV++3LbtKzXU9TSd5LqdY9pjhXaTjOZOuPwGM/X2ryH4TM1x4RGpXDF76+up5ryRjkvL5jKfwAAAHpV9b34gavCIZbq08MWRyWW2Anu5CTklnPyKTnsDitDQNGtNB0qHTbHzTCmX3SvuZmY5Yk+5JpxvUqqdrJJ7+dun+ZFVU8HgamHdRSqTlF+7qkoqV05bO7afutrTUv0VR13VrHRNLl1HUZhFBGPqWPZVHcn0rKh1fxc0CXD/DrWPKkUOmy4iZtp6ZXOQfatJ1oQfK9/Rv8AI4sNlmJxNP2lNLlva7lGN32XM1e3W17aX3OjqvbrcWN0ZrLy2RuWhY7Rnvg4PB7isVtf1yP/AI+Ph/4pQDqVgRx+jVG3i4x8T+FPFcTeh0xjz+BNT9apd/zN/wCw8c/hhf0cX+TZsaI+6zZfKeFkldWRh935zjB7j3q/GrO4VeprjbXx3YafNu1DQ/EMNpcO8TSSacy7ZC+Y8EnBOSwx7muyvbeK6t0hZZ4omGZUJAaQEfdbHb2B575rrwsFiNYv3e55+Ow1fBWjWhZvZMSS3P24SC4LQxrhEXgMx6sfX2HQdetTUAAAADAHQCivYirRUex5L3bI4vlZo+w5H0NToxVWI9hUDKyyb1UHIwRnFO3v5f8Aqj1zgkZpgSbz3wfqKCAV3AYx1FRCVOhO09weop0ciFsBgfUd8UAP6J9TUUmWYRjvyxHYVNKNrADkYGKrGWKEnzpERmJPzHtQAlyiC3ZQuNxC8deTWpCu2JV9BWYI57gFo9kcY2lSwyW5/QVoW06zKBlRIB86A8qaAJqKKKACuR8TRrqfjXSbFnYxadE99IgPBcnZHkf99EfSuuri9D/f+JfE98WLsbtLZT/dWOMcD8WNcuLny07Xs3/X5HfgIu86lr8q+6+if4nQeHLeS8g1nUIVMiyvHbxYOcrHyxH4t+laNho9xNKDOjQxDrnqfYVY+He1vA+juiBfMtVcgdMtyf1JrTuNSsoCQ86lh2Xk15gyC/ht7DSbgQR7Awx1ySTxXL9BWvrGpJeWqxxoyr5n8XU4H/1657UP3vl2YAPn53+yDr/QfjQBJaz/AGjc6J+5z8j5+/6ke3v3qKf/AJC9p/1yl/8AZat/TgVkXzNd6zb20ORGEkWWTP8Au5VffsfTPrQBr1PbcRzv6R4/MgUqWscKqtw3kgAYjVctj6dvxqYtaQ2+Vjlk809HcDgd+B6/yoApKCxCqCSegAqby0h+aYgt2jB5/E9v50NcybSkYWFD1CDGfqepp2n2kl5cCKPA4yzHsKADzLST78DxH1ibI/I/40G3iYfubuJvZ8of14q3qdhZ2YVftUrSnnbtB4/pWdmME4Qt6bj/AIUAPkgMZHmSRgEZBVg2fyokEce0KpZ8Atu6A/SomJY5bmpr5dtwWHKyAOh9jQBM5N9Fu/5eI15H99R3HuKx4R5eqzqoIWWNZTnuw+Xj8AKuozI6ujFWU5BHY1Hdx/atTju7fKCCFjcxgcZcgKfp8p+lAEVp/rLn/rsf/QVqxVe0/wBZc/8AXY/+grVjvQAUVeTSb4vtaIIAMlmYYAqT+x3xzdQDgMBznB6fyNAGbT4IZp22wxu5/wBkVvafotuFWS4Yyk9FwVH+Na0aJGgSNFRR0CjAoA5O40HUIbUNYqqyM5kliJyjHtx2PXkfjmsp7qSFjHdWV3DIv3x5LEDnrnHI+leh0jqrqVdQynsRkUAcJDLHNGJIpFdT3U5FJNII0zjceyjua39Z0PRVSS9dZLSTHMluxVm9Bjofx96wPsd9aSW1w83zyh2iLIPMRVIwcdO47ds/QA2LDSfs+l3V/e/69oHIVuBGNp/L/Peujh/1Mf8Auj+Vee6tF9rtbmW+drqTa7/OSVU4OMLnAxnAq/ZXuoWtukdvfSBQBhZQJAB6c84/GgDX1TRpDM01rtKtyUJxt+ntWJWmNamuons7xI4PNIVZ48lcdwynlfzIqs0lrCcW8RlP9+YfyX/GgDL1yGWTw9qjJG7AWU2SBwP3bVxdd54qmluPCd9I8hJW1uEYdB/qyRx+f5VwlAHq/gb/AI8NU/7Dmo/+lUlb9YHgb/jw1T/sOaj/AOlUlb9ABRRSMyqpZmCqoySegFAFS5Zbm9jsxhljxLN+H3V/E84/2ferlVdLBa189vvXDGY8YwD90fguKtUAFFFFABSr94fWkpV+8PrQBn+Hf+QFZ/8AXMfzpmszQ+baWxZPP89JUDEAAKeST268dyfxp/h3/kBWf/XMfzp1oI5rq/ygZTIsbB16kKO3pz/OgCzc3ENsm+4lSMdtxwT7Adz7Co7LzWEk0quhkbKox5VcAAeg7n8aWGztIWDRWsKMOhCDI/Gp6ACig8DJ4FICG+6QfpQAtRW83nCRgBtVyikHrjg/rkfhTdzpO2/eQ7BI1BBGMZLe3f8AIU4mUXKIsa+SVYs2eQ2RgY/OgCWiiigCrqn/AB7x/wDXeP8A9DFWqq6p/wAe8f8A13j/APQxVqgAqOW3glcPJDG7joxUZH41JRQBj3/hbw9fafLp11pMDWcq7XgXKJjOcAKQByM8V5R4J0z7Pfax4fvVkf8Ase5e1UtISXhZt8Qz127T0PGa9vry3xesOkfF6y1BpvLstbs/slyyruC3MZJiBPQMy5Az6Vz1kozjU+T9H/wbHs5dKVfD1sHfpzxX96O/3w5vWyL1lpmm2U8txZabZWs03+tkhgVGk5z8xAyeeeaux2bXEiTLbo7R52Sso+TPBwx6Z9qmE8MY/cW65/vy/Mfy6CopZZZT+8kZvqeBXQeMK1lEJlmkktBKqlVf7zKDjIBA4BwMj2FRPo+m28yala6bZLcyIwmu4rZVkf5jwz43Ht1pafFLJE26KRkPsaAKJ0zTTqI1I6dZm+AwLryF83GMY343dPeoVRE8TGRERHe0JdlUAsQygEnucAD6AVsXuGeOZQAJUDHH97of1FZsCK/iZfMJEa2TM5HpvH/6qALGm6bpujwM2n6fZ2ckzBytvbrGP94gAZPpRPKUG8pJISedoyfrUsrmSRnPGT0HYelVbyOU7JoOZYjkLnAcHqv+HuBQAtnNbyhvs5wdxLqVKsD7g8iq1jbWkOqXDWltFCFjVJPLQKCxJbt1OCPzFVtYu9kIujCLXytp8+4+QqScYHqPXtWbF408NWdui3GqxSXkp8x7e3zPIrNztwmeR0/ConUhDWTSOrDYTE4m8KEJS9E3+R1dV9a1Gz0rS31HUJhDbW8RZ3P1PA9T2ArDh1nxVqZ/4kPgTVJIyfln1B1tEPvhvmxWto3gfWtV1q01XxxJp7wWR32ul2ZZ4vM7PKWA3kdhjFYuvzaU1d+jt9/+R6EMpVCXPjZqMVulKLm/JRTbTe15WS38iDwB4cu/EV+vi7xTakWwcSaLps45t1x/rnA4Lt1AOcV6dRRWtKmqa7vq+5xY7GyxdRO3LFaRitorsvzb3bu3qwpdx9TSVSS8uZcyW9kJbfPyv5wVnHqFIxj0yRWhxHLfEy1mvvAt7HDhpIZprpQ3IPlM7/nkDFN0y6TUNMtruPOJ4UlTPowzj9as+ILye20e8urq1EMAt79dxlDAEhtobjAJIx1PesnwpGIPDOmRJwFtY8Y/3RXbgvilp2/UrEa4WOu0n66pf5I0qKc3I3j8frTQCTgV6B5oqjJoY54HQdKViANq9O59abQA7K5zt/DNRlDcM0cagHu+OE/+vRI21C3oKu2sfl26J3A5+tAEcVoqwqksskrAffJwT+VPWKK3TbHGNzHvyWPuakd9vAG5j0AoRSDuY5Y/p7UAMK7YeTubjJ9TxSyQxuwbBDDPKnB/SnS/6s/Ufzp1AEQjYSKyzPsA5Q85Prk81CJpI7xoWbK8Mueu0/8A181bqhe8anbM3C7GGffI4oAvjrXCr4L1+0+1/wBl+L3tRcXMtyVNlG43Oc4OQTXdVHdMFtpWLbQEPPpxUVKcai5Zep0YfFVMO24W101Sf5p/fucf8N7/AFhfCjaVf33n/YLl7VGRAmY1AK9PY1vVzfgFmez1VjhlOqz7GH3WX5QMevTH4V0qLucL614878z23e2x6GKjGNVqKtt+Q6XjavTCjP481Q04GcfbpOWkyI/9iPPA/HGc/wCApdXYyw/Z1JV7l9gweQOrH8ADUltpUMoLXU0syJyzStwPYKML+GKk5xsP2q+uxHaMEhjfDuOS+OoHYD1PtT3FvZajYw2mN6RS5kHT+Hpn+fWrTyKsK29vGIYF6KOp+tZ8/wDyF7T/AK5S/wDstAF6NGllVAfmY9T/ADpZ3Dykr9wcJ9O1EDBZAT0IKn6EYNNkUpIyN1UkGgBK0NJvhZQXH7slmA2n3rPHJxTpOMIDkL/PvQASySSyNJIxZ2OST3ptFVdWtZL3TJrSG6ktJZChWaMZZNrqx/MAr9DQBaq5Y33kRtFNCJ4SMbDgY/HFciiIIyt34ru45sMm7ycBtp2khQD6Yz7Zq1pCW99fxWNv4yYzTpLHGAuWdhv3FSMYwFPPqnucgHW6hZxOyXa7bW3kQEg/eB9AKyZ9Q+za3HDZoYobqBgykA7vLIOST678YrQkWO8mNuNR86a3gH+tGGlA43A9OTWPfoUntZfKJdJgvA5AYbT+GcH8KALcEdq091Is4ijM2Qm0sy/KvH+TXQ6NHpcmDAm6ZBz5g5+uOn5Vg6Xpd7cPclYSi+d1f5f4Vq5Lo2rR2sk1vftZyKpJWIBmcAZxnt0/WgDorhJi6yRSkKo+aPaCH59ex/xpyRqX85owJMbeecCqmgal/auni68h4TuKlW9u4OBkf/Xqzb3Ec8k0cYkzC+xiyFQTjPBPX6igCaiiigAqO5mit4GmmYKijJNLPNFBEZZpFjQdWY1kQRyazcC6uEK2MZ/cxkf6w+p9v/1euQCMtJPbz6xexqYYkL20EjYHHQn6kfr9K5PV7G61h4LqbUbqzuFnE0hgfO5cMBFkgfKN2eAORXXeMYJJLK3nUsYrebfKgAwRggMf90kGuenmjgTfK2ATgcZJPoB3NAGbbWeoWNtNJca7e3wWJsLKqKDw3XaPcfkKbZ6dqMEcD3Pia/mjjVDIGWOMPhQOSoGMkZP1NWLyK6u7G4kkMltGIm2or4Y8Hlj/AEFWILG1VUabddvtGPNbcF+maAH6cq3k9xIW8yGGMeUTwPMB5b36/TrVhvLC7VG5s/e/oKazswxwFHRQMAUlAEeuSRnwzrUYUgPZTMq/3SEbofpmuGrsNeJXQdSI6/Y5v/RbVx2KAPWPAv8Ax46p/wBhvUf/AEqkrfBBGQQR6iuW8GWFjJa6tNLawmRtb1EO+3BYfapOCe4+tbslm9uRJpwihO7LxEYjcfh90+4H1oAuVTus3V0LPH7lAHnJ/i/up+OMn2HvUOoW2sXQH2e+XTtqnGxFl3n33LwPp61LZSOkvlzWUlvJO5JJdWDsByeD6Dj2FAF2iqi6jbFhu81EJIWRoyEbBwcN/LOM9s1YhmhmBMMiSAHB2nODQA+iiigApV+8PrSUjyJChlkbai8k0AZOmTmDw3Z+X808keyFeuW5/QdT7CtG0to7aMqmWZuXdiSzn1JNZXhGN5NOgvZUK74VSFWA3KgJJ+mSc49hnpW3QAUUUUAQzQ+dKvmKDEqn5T3P/wCr+dSsVjRmbCqAST0A9TS0UANUxyBJVKuMZRgcjB9DTUk3swVSVDbS2e9VrGONdQvTCQqAopReFD4yTj1IZf0q7QBDN9pMmIvLCEclicg+36UxoZo7YrFK8kxYEsx5PPT2HarDlgpKruPYZxmo4mmUqkqFjjJdcbevT1oAh1Y7bVGYgATRkn/gQq3VLVo42tI0Zcr58fB/3xV2gAooooAK80+MVokfwj1VxGQ9pcvcK0YwVk80lHyPQsvP1r0uvOfjBOLf4U69YtIscoSQSIT95WZnBGeueDx3yKwxP8Gfo/yPUyNtZlh7fzw/9KRNp8jy6fbSyHc7wozH1JUE1PXJt448K6XptpHc61bPMIEXyoD5r52jjC5x+NFr4q1fVyy+G/BWuX4x8s9xGLaE/wDAnpfWaSsubX73+Bf9i46o3ONJqN937sfvlZfidZRXMReF/i1ql5582saN4etiP9QiC6ZfzX/2aumsvhrYy2LQ+I9Z1bW5nOWf7VJbJj0CRsBiiNaUvhg/np/wfwCrltCgk62Ii32heTX4KH3TKmseIdB0uyVdT1iytZI3PySTANtI9OvUH865yDxjb3+pbvDekavrzNAUY2lqyoAHBHzvgY9/pXoeieAfBmjMr6f4b05JB0kki81/rufJrUVVXxGqKoVRYnAAwB+8FFq8t2l6a/i/8g9pllL4ITqP+81Ff+Axu/8AydHnMVn8T9Sx9n0HRtFjP8V9eGZwP92PjP41fj+HOvX0f/E+8eagCf8AllpcCWyD23HLH9K9Ioo+rp/FJv5/5WB5xOH8ClCn6Ru/vnzP7meSXvw08P6fcibWVufEBBEkkt7dyu6oD3UHaM4xyCOvSvQPDMXhuzhW30SxsrAcgRxQrGT69Ov5mtGy+a7vnJU/vVTA7AIOv51WvtC0+5WQpH9nldSBJHxtPXdt6E5/r61cKNODvGKRzYnM8Zio8tarKS7Nu3yWyNQ0lc451zS8MzG5txIWOPmGDxtP8QA6+3qRWhp+uWN2VXeYXbOA/Q8469K1OE06KKrXk0nmJa25/fPhmb/nmmeWP8h7/SgCO+d7gSWUCOScJLJ0VFPXnOd23pj1GauKqqoVRhVGAPQUy3hjt4hHEu1ck8nJJ7kk9T71JQBzPjMFvh54hUJvzbXXGM5GWzWNojwSaNZNayLJB9nQRupyCoUY5rtrFVa3kVlDKZpQQRwRvavObC1h8L+Ibrwzu8q0fddaarNkCIn5kBPPytkfQiurCVFGbi+v6XNZw9rhmlvB39U7L8P1fY3VOD0znqPWnuPL+Ud+ppqsoB2sC2ccdqVMMNjfgfQ16Z5QymOxBCqAWPTPah3A4XluwBpY0Cj1Y9T60AEcQMilvmbPX0+laLbtvygZ7ZqpbDMo9uauUANRdpLE5Y9TinUUUANl/wBWfqP506my/wCrP1H86dQAVFcwrcQmNsjuCOoPrUtFAGcL9bOJ1vmEflD5nJwuPXPauT1LUtV8VyLaaPutdILET6gesijtEO5P97oO2a6LxPptnq1pdadqMbtBcQBU2gnDZJzx3BxXOWt54ssba3spPD1tePGgTzlvRCHxxnYU4+g4rmxDqXUYLe9z08FGmqcqmnOmrXaXzt1/Ts+nQ2Nrb2NnFZ2kSxQQqEjRegAq1HIkIaaRUZFHO84GP/1ZrA0vWrubX5NF1HTUsrhbUXKFLnzQy7tuPujB/OtXVP8Aj2ht9wUTSBW9SD1H5D9a8tK2lrfgXXhUhP8AeO7et7p3+abTJILb7ZKb+EHYqlYoWH7xVOMsfXOPy61auP3dvFD6jzHHuen6fzqFWZWDKSCOhFLLI8shkkYsx6k0GI2qlwp/tWzbsY5R/wCg1bqtO7NqNqhPyrHIQMd/loAs1JOQzKw7oM/UDH9KrXMy28LSsC2OAo6sT0A9zTrVZl021W4YPMq7XYd2GCf1NAEsfygue3C/Wm0+XghOm0YP170ygAooHWnMy5ykYX8c/wA6AIUsYJ5iq2cMkkh5/dAlvr+X6VZa3sLFTDZ2dqk7ACeeONQzYzhQQOg3N+Z9aR9QkggZPMSJWHIRAGb24GTUdtZahqQ22kbQR8ZmYD9M8fz+lAEsU5SF4dsZWTA3MuSvPY/gPyqyp0+C0W8upY42t7qIxsX4IyMD+dTr4XMlzHcXGozKFxugh4jP49TV+48O6LPCYZLFWjJBKl2PP50AWkuIIHuWmniiHndXcD+BfWkGqacV3LeRMOxU5z+VVNO0XTITcKtqDiXALMScbV71ej0+xjYslnAGPVvLBJ/HrQBy2k6/MniK4t57ie8hbftIXhQGym0cDoSD7it59Xbgw6bezL/EQnT8s5qe3sWi1GW884fOMbAuOO1T3d1bWqB7q4ihU8AyOFz+dAFE3uqyLui0nYCPl82UAj6j+nFJE2vyRjzEsoX9QT/9etUcjI6UUAZUWlSTSifVZxdOCdsYGI1/Dv8ApWqAAAAAAOgFFVb/AFCzsYfNuJgMnCqvLOfQDuaAMzxhcsLRNPjyHus7nBHyIuMnHckkD8a563s4In84hmcAgO7FmP0J6fhViWae+vXurgBXfhV/55oOi579yfcmmyMGb5Rhew9BQBBqTFrG49BC+B6cGnw/6pP90fyqO/8A+PC4/wCuT/yNSQ/6pP8AdH8qAH0UUUAUdf8A+Rf1P/rym/8ARbVyFdfr/wDyL+p/9eU3/otq5CgD0CzkgTwxqqXKStFL4hvlPlbSwxeSMDhuD93p3qwPB+nX1t59presiOUB4mS7bapGe38wfTHFZegW2n6kdXt5NWa3uYNe1EiN3wFJuHyVBODwR+tdBbaVapYJYz640kEYCoqyquAOnfB/KgDNk8I6XDFGt14n1oSRgFiuoMm8+pQde/HPH0Fa8eoaMumx28KS3yQqBGvll3cjjOW79eTirUNrokMgkX7KzgYBeUN/M1cS5s0UKlxbKB0AkUCgCjBqkzxKbbSbkIBgBhtx7YAI/KoLnU2gvVuJrOS3YoVYyZ2uMjHIHUc44PU9K1vtdr/z9Qf9/B/jSPc2bqVe4tmU8EGRSDQA2zvEuHMZUI+3coDBg6/3lI6jPHtVmuTab7BrZWxuIZoIx8sbSjAZhlgD+C9/4uhwTWpB4j0/cI7yRbObAJWRwR+f9aANiql3uuLuGzCnYGWaR84ACtwv1JH5CpPtlnt3fbLbbjOfNXGPzqnZalZTapI0NxFJC0ajzhINgZSeM9/vds9KAJPDv/ICs/8Arn/Wr9ZXh26tRodnm6gH7v8A56D1q/8Aa7T/AJ+oP+/g/wAaAJqKh+12n/P1B/38H+NH2u0/5+oP+/g/xoAmoqH7Xaf8/UH/AH8H+NH2u0/5+oP+/g/xoAis3EdzPbyKVlaRpFJHEinGCD3wMD8PTFWXVyyFZNoB+Ybc7h6e1Z2tXdotiZluYjNGwaHa6k784AxnvnB9s1ba+sljMj3luqgZJMoAFAFiisWTxFZyu0WnlLtwQCd4VRn1J/8ArVFbTXF5PMLvVobYxNjyoJF5B5Vs5z/PpQBqasQttGWIUedH14/jFOl1CxjG5ryHH+y+4/kKw73S9Gjh3Pd+ez3EbMZLgHncM9MfrWpb2+iW5YxLZAsfmJdWJ/M0ARvr1iYw1ss11k9Ikzx6nPb9fal+2atNJtg01Yk258yZ+AfpwT/nmrf22wiMcYurZNxIRRIoycE/yBp5u7XH/H1B/wB/B/jQBQNlq1wq/adTEOGyVt0xkemeD/OsnX/DlnfXVtZz2/8AaCXAb7St025DGMfeAweSRg+oFbmlXNounQH7XAWdA7Eygks3J/UmoJ9Q09NXWW5vraARRFYy0oAk3EE85xxgcdeppNJqzKhOUJKUXZog0bwto2lyxvZ6PpdksWdiWtsq5bpuZsZJxn863iSetQfa7T/n6g/7+L/jR9rtP+fqD/v4P8aIxUVZIqrVqVZc1STb7vUmoqH7Xaf8/UH/AH8H+NVdT1BobdWsfstzKXClWuFUKvduvNMzNCs//mZh/wBeJ/8ARgq19rtf+fqD/v6tZ5urX/hJQftUGPsR/wCWg/56CgDWqtqM7QwKsfEsziKMkcBj3/AZP4U/7Xaf8/UH/fwf41R1W8tlksttzbh/tK7WaUBRkEEH6gkD3xQBes7ZLWARI0j8ks8jbnY+pPepqh+12n/P1B/38H+NH2u0/wCfqD/v4P8AGgCasvVdPtJpYT5AEssgQlRjcvJJP0GSD2OOxNXvtdp/z9Qf9/B/jVOG5tJtRluWuoCsI8mPMg68Fz157D8D70AQJLc6OwjuSZ7EnCSgfNH7H2/yPSrmmOtw1xeK+9JJNkZ7bU+Xj/gW4/r3qZrmzZSrXFuykYIMikEVjybdKczadcwy2xOZLcygke68/wCffsAb9FZttruj3CBl1G2Qn+GSVVIPpyaufa7T/n6g/wC/g/xoAbp/+pf/AK7y/wDoxq5b4gaXNrVsb2xh3Xehy+fb/L807bQXjB/ulTj3bHpW5Hqllb2zj7RC8rTTeXGrglzvb06D37VPazQwWjiS9tzKxeRisgADEk4HPai7WqdjSjPkmpWv5d/L5nG6VfQ6pYwalYyK8NwgYbgQR6g+4PBHtVny8kb2L47HpXPfDTYngnT/AJwS3mOxLZJJkYk10e9P76/nXtQlzxUu5x4uiqFedJO/K2vuZKVDLvAAYcNx+tMoSVVbIdfzodk+8GXaenPSrOcsWY+834VYqhHMI2yHX3GauJNG67ldfzoAc3Y9hnNJENqDvnmk3rv++m3Hr3pQ64GXTP1oAJf9WfqP500ygTFG49DRK6eWfnXqO/vTi8efvL+dADqKbvT++v50b0/vr+dADqjuI45YWSQZGPyp29P76/nRvT++v50AcRdKn/CdaDdltst3Zz2556gYcH8K2bcCe6mu3Ys4do4wekag4wPc45P0rF8SNDY63oOoSsB9kuZrchTnIkibb+oWtawaGGJ2kuIBJLIZGAkGFJ7de1eTibe1ep607uhSduj+fvPf+trF6iovtNv/AM/EP/fYo+02/wDz8Q/99isDElrNa6WbVoVtUMxEMp3fdQ428Bu/4ZpJL22vgIYpR5DEeZJvCqy9wOcnPHTsetPe5t49Ysyk8ICxSYAcYH3eKAJoYJXmWe6dS652Rp9xM9/c+/6VotiOONfvSctgc4J9fwAqJprVZhHBdQs7YA+cfKT2+vvXU2P9n2kCxx3FtuwNzeYMsfXrQBy/lTEZ8qQ++00ixuzhFRix7Ac11l1qmnWsfmT31ui9v3gJP0FZn9qTaif9BlgtYD/y3lddxHsM/wCfWgCu9ja2loZNQuPLmZfkiB5B7cVSsdM1K+w3l/ZYiAdz9fp/nj3resbXS7aTzmuoZ7jkmWSUE5Ppzx/Or/2u1/5+oP8Av4P8aAKGm6DY2eHZTcS8ZeTnkd8f45rVHAAAwB0ArNvb5JJVtbS8gR+DJJ5i4Qf4mrH2yzgt901/b7UXLO0ijp3NAFiR0jjaSRgiKMsx6AVHaSyTRmR4WiUn5Fb7xX1I7Z9PTGeeKpRzwXkq3FxPCkKNuhhMi5J7O3PX0Hbr16Xftdp/z9Qf9/B/jQAlr/rLn/rt/wCyLTrueO1tZbmXPlxIXbAycAZ6VXtbu18y5/0qD/Xf89B/dWsvxZqtuLUafDcxeZcDLsJR8sYIz+f3ce5oAqz67qk6MsaQWqvyGGWkQenPGff9O9ZroC8byq9yA6eYJZCzMgOSMt6+nTmk+02//PxD/wB9ikNxbkHbcwg9jvHFAG7D4pE6GSLTZNuSuHmUMCDgggZx+dR/8JFqO0/6FZg9szN/hXOaPcWv9mW+JoVBQY+cfMOzH3I5/Grf2m3/AOfiH/vsUAX7nU7+7VkuJFjiYYMcBK/+PdT+n0qrHbRrl4UQcfNwAQP8Ki+02/8Az8Q/99inQ3FsZAPtMIzx98UATHCKQGDM3XHYUyovtNv/AM/EP/fYo+02/wDz8Q/99igBt/8A8eFx/wBcn/kakh/1Sf7o/lVa/uLf7Bcf6RD/AKp/4x6GpIbm38pP9Ih+6P4x6UAWKKi+02//AD8Q/wDfYo+02/8Az8Q/99igCtr/APyL+p/9eU3/AKLauQrq9euLc6BqQFxET9jm/jH/ADzauUoA9T8EW8D2WqM8MTN/buonJQE5+1SDNb/kQf8APGP/AL4FYXgORXstXVTkpruoq3sftLn+RFdDQBH5EH/PGP8A74FHkQf88Y/++BUlFAHP6p4dubrV5r+11aSzV7TyUiSIEI/Pz88HqOMdqpzeG9e2wrD4mYN8wmka2TJ+RwMDpwzKf+A+9dZRQBx9xp99ZamWXVmYCQTPFIkaLKny8bj0xtYE+4qlYeF9WnBRdeujZO0kjCa2TBLEldhOWwMjngfKK67Xkjk01vMjWTEke0MBgMXC55+vPqMinPFdWal7eV7mJRkwynLY/wBluufY5+tAGXH4Zht4rb7Obd5Io9khngDiRuPnwfunOenrSyaNrczDGtwQjPAjsl4H41vQyJNEssbBkcBlI7g09fvD60AcjoGg3raHaMNeuFJi6C3jxWlPYawLMRxXNmZlA/eiEAtj1BBHNXPDv/ICs/8ArmP51foAxI5NSt7dBdaPFcSYwWhKjJ9cc07+1tPTYLixmgZjgB4R1/rWzR2x2oAz4r7R5WCrLbBicBXXaT9AQM1bWO1YEqkBA6kAHFMmsrFwXltYG45JjHSsd9OsJiZYNKvirqMFZFVXHbhmyo/AUAReIHtrjULO1t4YrpkZ3eBY1ZXOAAD9NxPt7VbtdFEyIdVWKUoqhIkXCoR1PHUn+lW9M0+O1dpzHGsrjbhMkIvoCeT7nv8AhV+gDNkso7O4a5tbWNoWUCaFIxnIwAy/QDp3+tLLBbziG/sYYZXHHygDemeV57jrz0II4ya0aqW/7vUbmDACuFnGPU/K3/oIP4mgCtd/Z57fb9mVHjuY1dGQZB3KR046EGtDyIP+eMf/AHwKzJ/3ss9yMBftEMK4P3tj8t+bEfhWvQBQuoYXvrSERwgAtMw2DJCjA/VgfwxVvyIf+eMf/fIqvC32jUnlVsxQKYhgcFyQW59sKPrmrlAGVeLa6REbl44lsQSZRsyY2ZvvD1GTjA/CoodUs7qKRo9G1AqvA82wKBj2AzyfrjHNaOq2kV9ps9pO5jjkTlwcFCOQ2fYgH8KreF72bUfD9neXDK00kfzsvRiCQWH1xn8aAH6Pp/2TS7e2uvJmmjTDOsQUdegHoOn4Vb8iD/njH/3wKkooAj8iD/njH/3wKPIg/wCeMf8A3wKkooAj8iD/AJ4x/wDfArPMEP8Awko/cx/8eR/hH/PQVqVnn/kZR/14n/0YKALnkQ/88Y/++BVBFtL7UUaFYZILXduZVBUy9MZ9VG786kDtqLARmaOzAyXxsMx9B32478ZyMHrV5FVEVEUKqgAADAA9KAGeRB/zxj/74FHkQf8APGP/AL4FSUUAVb8Q29nLMsMIZV+XKjG48DP4kUtpY21tbRwLDGdg5JUcnufxOTTb/c89pAqBg8u9zn7qoM59/m2j8T6VboAj8iD/AJ4x/wDfAo8iD/njH/3wKgl1CGK5eKRZAkYG+bGUViM7SeoOMHpjkc0st4fPjhtYluGdDIT5gCqucA55zk/yNADbjStNuM+dYW7E9SEAJ/Ec1m3mj6XDmK0t1+1y5VQrkbSR95sc4A5568DvWpPJeELDFbhZGHM24FE/DqT7Yx71Ja20Vuv7tcucb5G5Zz6k9TQBhWmhSRzNdWN8Yv3ro0UsYkVlDtxzyKlvbPW/NR7drIx9Hi8tcMO55GR+da2n/wCpf/rvL/6MalvmZbY7SVJdFyOoywH9aAPHtJk8QeF9Oj0ifw218lqWVpradTn5ieAcH8P1q/8A8JlpEQxqFrf2EmMsk1q3y/ioIrpbxt13M3rI386qwTLcLINuNjlGBweR/kGuiGKqRST1/P8Ar5G1adKtKU5U0m+10r97a/d91iDTta0XUYhJZahazKfRxWnGEb5cLg9D6Gse80PRbwlrnSbKVj1LQrk/jiqY8L2EIP8AZtzf6b7W9wdv/fLZH5Vusarar/hjFYajJpczWnVX1+XQ6IooOCoz9KltdolxtHI9K56PSvElrai4tfES36htrpe243Ke3zp6/TtSSX/ivSZY21PQbe8TbuJ0+5DSKPdHC/kM1t9apa67ELAznbkkm352++9l+J1Uqrsx8q5IGTT9q/3R+VYWj+KNE1qZrOG4aK6T/WW1wpilXB/utyfqK3q6DknCUHaSI5VXyz8o6jt708qv90flTZuYyPp/OgQxjqC3+8S386CRC8IO3KE+g5NOXYwyoBH0p3bHao3+WRXHc7W9/SgB+1f7o/Kjav8AdH5UtHSgDjPiBbiS+0aePAEOp24fjqS2Mf8AfJNbPkw/88o/++RWR4p3yX/hm3YjL6hJPJ77Y3I/XFaN1qFlbHbNcxq+M7AcsfwHNeXi3epv0+49RK2Hp6Wvd+utv0ZN5MP/ADyj/wC+RVSW3S5vjbssa2yxZmUIMvu4Az26H86ik1Od2ZLWxckD7052f+O8t+lSWyX4lnlZk3yAKDs2gADsDk9+4rmMy6IrZDuNvFsHRSAABWbdS2kerW7BI22xS52qML93v0FXJbFS5WSZ5FzxnqfxOSPwxUMkUaaxaFUGfKk5PJ/h70AaWiSW6XombT3mVFJ/dRb8HseK2y99eOn2PT0tYg/zPOgBYY9CMj/PSneFoSsEsx/jYKPoP/11s0AZlpodjFskuIUubgKA8si53H1x0H9Kv+RD/wA8Y/8AvkVJRQBH5EH/ADxj/wC+RVWGCG8hLyQqqbz5ez5SV6DpVudWeF0RtrMMZ9KciqiKijCqMAe1AFYW9laQM3kxqg+ZiV3E/wBSaggtY7uU3FxAnkBgbeJo8EYz87DHfOQD0wD1qbUm3olmozJOcf7qAjc34ZGPcirdAEfkQf8APGP/AL4FHkQf88Y/++BUlFAFS1gg8y5/cxf67+4P7q1y2tRxSa7ebooyIyka/KMAbA382Ndba/6y5/67f+yLXHXBZtRv2bJzdybT6rnigCH7PB/zxi/74FL5EH/PGL/vgVJVTU8mGOL5gksqxyFeoU+/bJwPxoATTYYTYxMIo9rAsvyjgEkgfkRVjyYf+eUf/fIp4AUBVAAHAA7UtAEfkw/88o/++RR5MP8Azyj/AO+RUlLGoZwDwM8/SgBLiCASnbFH0BPyjrgZ/Wo/Jh/55R/98ipWbcxb1NJQBVv4YfsFx+6j/wBU/wDCPQ1JDDD5Sfuo/uj+EelJf/8AHhcf9cn/AJGpIf8AVJ/uj+VACeTD/wA8o/8AvkUeTD/zyj/75FSUUAZ2vwxf2BqX7qP/AI85v4R/zzauTrr9f/5F/U/+vKb/ANFtXIUAej+BJmgudUgGWS513U2OUxtZZ35z3GBj2JFdfXN+A4o/J1ecYaU61qCE5ztH2qQ49vWty/vrOwi828uEhU9Nx5b6Acn8KALFFV9PvbW/thcWcwljPGcEEH0IOCD9RUlxNHBH5khIGQAAMkk9AB3NAElI7LGjSOwVFGWYnAAqpLJfzRFbe3FuzDAkmYEp77RnJ9iakazhkkWSfdM4xjexKg46henvQBEnnXk8UrxmK2jO9Ffh3bsSOw74POcdMVdoooAqW6rDqM8aoEEqrKuBgEjhvx6fnVxfvD61n6WpmlnvpTl3do4x/wA8kU42/iQWP1A7CtBfvD60AZ/h3/kBWf8A1zH86v1Q8O/8gKz/AOuY/nV+gAooooAZNNHbxNNK21EGSah0uH7Pp0EJUqVQZBPIPU0yLF9P5zLm2jI8nJ++4Jy/0Hb8/SrlABRRRQADrVHTy1xBPeRsFlnLKhI+6FJVR+YJ/Gp76YwwEoN0rnZEv95j0/DufYGnWcC21pFbr0jULn1Pc/ieaAM8Mv8AZNvGF2PFNFHIn91gwz/j+NXr+Vo4CsXM0h2RD/aPf6Dr+FUdfX7OiXqL8vnRC4A7qGGGx6j+X0FWblVk1SzZFDOiuxbqFQgD8ycY9s+9AFizt47W1htYV2xxIEUewGKxYdS1rUZ55dJh002MchiSS4kfdKR1YbQRtzxW8fuk5wPX0rJ8IAL4etgF2jMnGMf8tGoAqz2fiLUU+x6lJpcNlIf35tDJ5jJ3T5uOe59M1vRokcaxxqERQFVQMAAdBTqKACiiigAooqnqEs++K0tZFimm3HzGXdsVcZIHQnkdaAJLm4dZBb28YknI3cnCoP7zf4DrWVJYtceJVW8uDNH9hbMarsU5kHBweRjsa2YYY4d/lg5dizEnJJ9zVP8A5mYf9eJ/9GCgDQooooAKKKKAIbm3WcoxeWN4ySrRtgjPX2I9iDUJtb0yHOpv5R/hEKhsf73r+FXKKAI7aGO3i8uJSFySckkknqST1NVNOit1v7+a3QBXdQzDoXAwwH49ffPvUuoySiJbe3YLPOSiMedgxy2O+B+uKnhjjhhSGJdqIMKPagB9V7tLjiW2k+dQf3TcrJ7ex96sUUAU9HmSey86P7ryykZ6j943FP1IgWv/AG1jx7/OtU9PYWlxIrNtguJpSuTwsgkbI56ZHb1B9ataxGz6dMYwpljUyR7um5eR/KgDkJ1WXzEYZV8gj1Bplv5XkgwlSh5BBzn3qG6Wa6s0a0u2tGba4k8sP8vUgg8cipbUQiEeQwaMksCGyDk5PNAEtFFSxLCiG5unEduhAYk43H+6PegCzpMggaSeYgQY2tkZyc8fl1/Csy+muF1OW38sOyjc7sSA2SMEH0xk1HeM9xb3KXshgtQ58sI+3bHgdSPU59zmtHTLK41W2tVige1tIjtaaQYaSIDhVXr+JxigDBvNNs9eRIn0ybUpE5SWNNjL7q5Ix+BxTbXRvG+k3YGmi6v7InmC/ePK/wC64bP55/rXpVjZ29jAsFtGERQB1yTj1Pep6qE5Qu49TRVZWUXrFa2ex5rL4pjjn/s/VNPvtNvM8CSIlHx1KsODWnp2s2F1KY4r+CRu67xuH1FdbqscclkwkjRxleGUH+IVl6l4N8L6hcm5udEtPPyP3sa+W4x7riuyOM7rp+Jk6VKXS2vTa3o/8yLtSMAylWGQetMbwXp8Nu66df6pZTFNscgu3kVD67GOG/GsC58N/EezlVrHxPpWpxBiTHd2vkMw7DcoatIYuEmk1a/3C+pxak4zWnR3Tfpa6082vK5vqxRgjnIP3W9fY+9ZfifxFp+g26NdM8k87eXbW8Q3STyHoigdSaq6nrGuaTYmTWPCd+yjAaSykSdM+uAQ3X2zVjwF4fOoal/wmeuW2btgU0uKX71rCepZegkY5z3A49qVXFRULw1b/D1/rX8TahgOSbliGuWPZp83kmrr1fRa72T5VNL8Ra7qEF1rps9PisHljFhCzPKjMo/1jggd+g610VvYWcIKRQiON+iKNq9sjjqRx156HvWv4mDW3iFRG22O8gDSJj7zoThvwGB+PtVF1ZjtT7zHjJ43Acfn0/GvPcnJ3k7v+uw6tX2j0Vktkr2Wt7K7b69xyqqjCqFHoBilpAQwDDkEZFLSMh8g+RG9R/I1USF7jX7GFOrRyD6fd5q7Lj7PBjrhs/nV3QLcrq1tcsOXilVfoNuaAOkgiSGFIoxhVGBT6p6jLdB44bPy/NOWO84G0duh6/So2GqRxyXLzRsd6uLZFGAgHzIGPJJ65OORjoaANCikjZZI1kU5VgGB9QajlubaGVIZbiGOST7iM4Bb6A9aAJaKZPNDbrunljiX1dgv86x7/wAR6eiyQWU32m724QRoSgOOpfG3A+pPtQBocy6ruAwtvGUJ9WfacfgFH51brlbLWry3uJmnhW6SZlYlWCFCFCnAxg5wD1FX/wDhI4P+fG7/APIf/wAVQBt0VgnxGd4xp7bPUzDd+WMfrSweKdNlufsfl3YvTnZaiLdI6gAlhtyNvOMkjnigCXVtQaxguBDj7TNPtiyMhfkXLH6D9cCuZkVUtXVmlK7TuZRuc56n3PegzzXOrahLdQSwXHnkCKXG5I9q7ehIwevBNSE4GScAd6AMZZoJwLltZ1cKAoZfs7R4bYCMYHuOmeRWhrgf+zrhoW2SBd6EjoQcjI+oq0GyAwbIPQg1Q1p1+zx2zHAuZFjY55Cnqf5D8RQBfPt0ooNFABUkAJ3gDPyEVHUiDKRgcEyH+n+NAEdFDsC7MBgEkgelFAEF/wD8eFx/1yf+RqSH/VJ/uj+VR3//AB4XH/XJ/wCRqSH/AFSf7o/lQA+iiigCjr//ACL+p/8AXlN/6LauQrr9f/5F/U/+vKb/ANFtXIUAeleCdPVxq90bm4XfrWoK0cbBFOLqTk4GSffPtVjWNDuftxu9PUTmRQrpNOcqR3UnPHqPWpPAu77DqucY/tzUcY9PtUlbRjma7EjTERIBtReMtzkse46cUAYnh6PUrKG7aW1hmLTDiGfPQAYGRyR39+PetW2CzX9xLI254H8pFxxHlFY/iQw5/Cp7e2ht7cW8EYijGcBeOvU59feqGk2q2f2xopG/eTFY1lct8yjGSTyScfkBQBqVDcXMVu0ayb/3jBQVQsASQBkjpyR1qPT1nIaaW5eVZACqMgXYec4xzg8dcnirVABRRRQBQslWDVr+EMxMxS5wegyojx/5Dz+NaC/eH1qpfho3jvEXd5IbzBuwShHPscYBx7VPZzxXMUc8D7426HGPwI7H2oApeHiF0G0ZiABFkknAA5py6g0i/ubG7YtjyyybVYHvnJwPrg+1UtMUTaRpVqx/dyKWkX+8F5x9M4z9Md626ABc4G7Ge+OlVLwSXEos1DpERumkHHy/3AfU9/QfUVbooARVCqFUAKBgAdhS0UUAFFFFAFS6+TUbOQrlW3x7sfdJGR9M4xVuq2qqX02fapZlQsgC5O4cjA9cgVCutaQzmNtUsVlChnQzqCueOQT68UASasAbZAehmjz/AN9CsLT5NRudRvY9He3+yQlbdL6fL8LkmNFBG/aWI3Ej0561FrE82v3k+l7YotPtLqEXP73MlwrEFQAOiH1zzjHrXVQwxQRLDBEkUaDCoi4AHsBQBiyaDcXTPcXusXq3L/Lm0kMSKn90LyPck85rYs7eG0tYrW3TZFEgRFznAFS0UAFFFRTJcMW8qdYwVAXMe7BzyevP0oAloqtBDNHdu7OrJIgL9R+8HGQM8AjH5VZoAKqvh9VjXDfuoWf2yxwPqcBqtVVsislzdzeVtYSCIPnO9VUdPTBZh9QaALVZ/wDzMw/68T/6MFaFZ/8AzMw/68T/AOjBQBoUUUUAFFFFABRRRQBUtQ817PcSNlY2MMSjoAMbj9SR+QFW6r2PSf8A67v/ADqxQAUUUUAZlhIZhNDPaxvbGabEm4OvDn7w7frViC2aNc2t43ktyiMA6gex64/Gq2iQ8yyJO3lJNNEIwOCRIeTnq2QRkYq3YrHDF5KxmAGR9iM2cjJPHt3x2oA4iyi+zwfZsqfId4cqMA7WK9O3So7qa6iuUENpLcoyEBYwOHzxn0GPY/hU2oeXDq2pWSyFJnuHZUjG5xuAO4KMnvmrOlrqRsrhLiwuoZCyeWwiYeavOeOq9sg0ARwRC1iRb+ffO5JEQYbieu3PoPzqoLi91C9RYYXMsYKpZxsGCg9Gc9Fx/j1rWj0NpbggLcxzsAHkZcLEvfaTkEn2+prp9Ps7awtVtrSIRRr2HUn1J6k+5oAx9K8OLHKlzqcwu5k+ZIwuIoz6gdSfc1v0UUAFFZOraubWYwW6qzj7xboPaoW8QfuF22/77vk/LQBqaj/x5v8A7y/+hCrJ61RkkebSFlkADOEYgdOWFXj1oASiiorudLa2knkyVRc4Hf0FAGL4iu4muhDIT5NqBJKAM73JASPHcksBjvurWsofs9szNueRyZJOByx6gDoPSscabJdeH553OL2Vlu426gOjb4+PTI6ehNbWnXSXun215H9yeJZF+jAGgDk9elVvEqy6o0ljAbYLaGQAqTkl92CcN0A5x19qpiSOe1WZeUID4bgjHOD6EYrb8Qz/APE0UbVkWJRlSMg9yDWBpEcJ0lJIiPmd/OT+45JJGOw9B7EdqALEYVVKrkBWKjI9DinVHFuxkqQGVSOeuBtOPbKmpKAHsCfLjU5JAwPc10ckflanYQx4UrbSqDjOD8tZmj2vm6mPMKgRBX2k9eOK2Ln/AJDll/1xm/8AZaABYb0RwyO8D3Yi8uSTaQgPdgvX8MilktZ44/MhnkmnBJIlkIWQYPy4HC+xA4wOtNv7q/h1CzhtrAz28rYmlz/qx/T1569OtWrpbsxj7I0KvnnzUZhj8CKAKmjXES6ZDFNKsc0MQE0btho8DnOew9elcm0kl80l1dKpec7iuMhV/hX8Bj8c0eO2vLiSNZ7e0ljtmXe4ZlPJGQowcH8fannrQBGIY94cqXdRhWclio9AT0H0qSiigAooooAKn0j5Nfsp9pZvnhx7OASfw2D8M1BWp4WtPOvHvnzsgzHEPVyPmP4Dj8TQBrSWNpfNOt1CJNs+VOSGX5F6EciqsXhuxW4MkklxPFnKwSMCg+uOWHsc++a0rX/WXP8A12/9kWi8inmVUhuPIGfnYDJI9vSgDibywjhv7iOOaZYFlfy4lbYqDPQbcHHoO1Vr7TfK06QxWxH2hhF5kgL53HnqecDJ/Cu6tdMs7c7/AC/MfqXk5qlc+Xq0s0ccy4iU+QOgkPGXB7j+HI96AOeHAA5/GloYFWKkYIODRQAU9uIU7HJI+nH+FR0+b/Wt6A4H0FAB5kn940rbWTfkBs4K/wBaZRQBBf8A/Hhcf9cn/kakh/1Sf7o/lUd//wAeFx/1yf8Akakh/wBUn+6P5UAPooooApa8CdA1IAZP2Ob/ANFtXHV2+rwyv4b1eSNCQtjOC3QD922f0/nXE0AeneGIrqbRdWhtJ/s8j65qA83qUH2qTJA7mtO8u3guJoluD+4tA/Kk4Y7sM5xjHy1T8CBxZ6sWfKnXNR2rtxt/0qTv3rRn8r7TetJBFPtjTCKvzMRlgpJ4Jzgge9ADJb7UI4WnFnA0Qw+VlJYoR6Y+8DjPbHSprWzhm0uGK6jE24CR/M5y55J/MmkEItrq41FLeR2mijUwxgbyQWOeSBn5uue1O2/ZnE9xqLqsjfcmKKvPRR0wfxNAFtFVEVEUKqjCqBgAelLRRQAUUUUAVLxftF3Fas2ISjSSL/z0AIAX6ZOT+A71BdvdWQuDFGNk0gMcy4PlM2BlweoB54zVp/8AkKRH/phJj2+ZM/0/Kp3RZEaNsFXBU5GeDQBmeGYETSLWY5aVoQpY+g7D0FalYPho3ll4Z05WjF2kcKoViGJMDjd8xwfccfjW3bzR3EQkhcOp7jt7H0PtQA+iq01/axSmFpCZBjKohY5Pbgdfan291DOzJGxDr95GUqw/A8496AJqKKKACiiqupahZ6dEsl5OIg7bUG0szH0AAJNACarfLp9qJvJkndnWOKKPG6R2OAOeB9T0qhomjIunt/a1jYS3Us8s8mIw4UuxONxGSQuAT3xUdiz65qseomOWKwsmP2QOhUzyFSpkIPIUAkAH1JreoAy5NPsdPtQtjaQ26vPEWEa4zhhj8q1Kq6p/x7x/9d4//QxVqgAooooAKKKKACmJKjySRrkmPG7jjJ9+9M+0wfa/sokDTbdxReSo9T6e2etFxJFZ2zybAFB4VeNzMcAfUkj86AGXU5hvbRN/yTF4yoHO7aWBz6DafzFTW8McEKQxjCKMCobWF/tE1zNGiySEKoB3FUA6Z+uT+NWaACs//mZh/wBeJ/8ARgrQrGvZMeKbWJXKtJb9jzhX3H8OMfjQBs0UUUAFFFFABRRRQBFbxNEZcsCHkLr7A9vzzUtFFABRUVvcQ3AdoX3qrFCQDjI64Pf8Ki1S8+w2bTrA9wwIAiRgGfJAOMnnHXHtQBn6SwsbHU797mWe2a7mmWPywDCA5DKPXLAnn1NacttHLdQ3EmWMOTEOykggn64JH4ms6DRtPnm+1SRN5qXUz8OQrHefvDoRwD9a2KAMrRdy6pqgkAMhkViwHJXlVH4BRWrWXpx/4n+pKq4VVj5/vE5/kd1alABRUbzwxtteaNW9CwBrEvdclW4ZbZYzGpxkjO6gDfqG/m+z2cs3dVOPr2plxdrFp32s45QMBnuegrmLm/u7lCk0xKHqoAAoAruzO5djlick+ppBguq5GWOAM9aqajeJaxovmRLLKwSPe2Bn1PsP8B3p2kWK3Op2pYSNidXM0g+d8HOFH8K9R/TvQB3F4gj0/wAscBdgH/fQq2etUdSuoADa+YDMSp2jt8w61ePWgBKyNXze6nbaYp/df624Hqo6D/PqK1LiVIIHmkOERSxrP8PxO0MmoTqBNdNu6YwvYf59qANMcViaO02k3aaJdmP7O5b+zZV4yg58kj+8o6eqjPY1t1k+L9q+Hbq4xmS1AuIcHB8xDuUD3JGPfOKAMbWDnU7jP9+sfUzb2z2U0SJBK0+yeQceYp+6pHc5zz1GB61vX9rcXOrXIhiZv3hyegH41V1bT9K+wSwajdh9wxiIgBG7HcfQ0AVoI53nKqC4yVVQuT2b+bNWkuniDD6hMkC/3Adzn8BWfp2qfadJtruH/RriI/Z7gDgMwO0svqCStSKjSONxPPVjQBrWVzbx6rDFaweWrNtZnOWPHT2rSuf+Q5Z/9cZv/Za520cf2lE6jrKOvua6K5/5Dtl/1xm/9loA5TWdU8P3195zLrwujGis1lLJHsUqCcbTgsA+Dj5uD6VUub/whJbQ2NxaeIHXzSY96TFlaSRSV3ZyAS4yM/dyOlei0ZNAGBDr+n6hoD3klrOsMrtAkEqbXkOOgHb+mKwYgwT5+Dk4Gc4GeBnvxjmui8XpCdOSZ5GWaOT9wBzvY8bSPTGfpjNYFABRVe/uI7e3Je4jt2k/dxPJnG8g46A1XM80l8oXVtLSJnOEVtxxtY7fywe3Ck/QA0KKQMjDdG4dD0YHINLQA0rLI6W9upaeU7IxjOD6n2HU12enWkdjZR20XRBye7MepP1Ncb4cmmbUhdwuD5r+Si9tgbB/MjP4Cu6oAqrLHAl7PK22ONy7H0ARSaqWWqvqGmpPa27JNMG2h2BVACRvJ9PT1q9bgM90rAEGbkEdfkWsjXN0l3DptuqxoQMhRgck+nYUAan2KGQZuGe4LAbtznYf+A5xjviiUbtStUXaFijdyAOmcKPp1P5VYiQRxJGvRVCj8Kq2ipJqN1dqpzhYA3qFySB+LH9aAOf1yHydSlAXCv8AOPx/+vmqVb/imHMMM4HKkqT7GsCgB6fKu89f4fr60ynS8Pt4+X5abQAUUUUAQX//AB4XH/XJ/wCRqSH/AFSf7o/lUd//AMeFx/1yf+RqxAgWBWfqFGF/xoAFRmG7ovqelOJRQNo3MDkk9Ppiq89zi4ih5eR84A/hUdT9P8aloAq6/LINB1Jg5BFlPjHAH7tq4vFdhr//ACL+p/8AXlN/6LauQoA9X8Df8eGqf9hzUf8A0qkrWSzsmvTqCxI05Xb5gYnjp0zjPbPWsPwkkcuj6vDKrskmt6ijBM5wbqT0rpFVUUKqhVHQAYAoAWmyRxyLtkRXX0YZFOooAqs2oAblitsBsbN5JK565xjOOcY9s96tVDdtcbUW3jyzOAWJACLnkn1444pJLjbexWqqCXRpGJPRVwOPU5YfrQBPRRRQBVuG8vUbVyPldXiznoThh/6ARVtfvD61U1NVaCPcBkTxFSex3j+matr94fWgDP8ADv8AyArP/rmP51Lc6faXDlpYslsb9rFd+Om7BGfxqLw7/wAgKz/65j+dX6AGxRxxJ5cUaxp/dRQB+QqrqTGBob7+CAkS/wDXMjk++CAce1XKpa3tbTnickLM8cJI7b3Vf60APa6YarHZhAUe3aXfnnIYDGPxqySAQCQCegz1qjpImzL9ruDcXcWIpZAmxCcbuF+jDJplyskniO0R3HkpA8irt58zIXOfTazcfSgDSrjNVlv9TnvLO4l0yOe1lkktoJUkikCp0ZJQwHKnlh0yciuzrC8R2kWp6zpOn3EYltwZbiVD32gBfwJc5HcdaALfhW5uLzwzpt3ebzcTWyPIW6kkd60qB0wOBRQBV1T/AI94/wDrvH/6GKtVV1T/AI94/wDrvH/6GKtUAFFFFABRRRQAgVQxYKAx6nHJpl1CLi3khJxvUgH0PY/geakqrqE0ioLe2I+1Sg+XxkJ6ufYfrwKAF0u4kubJJZowkmWVgGyCVJUkdODj0FWay57PVhIVs9ShghaVZCWtw7AfxqBnGGPOe3vUsdzc2qKuoopQAA3SH5SfVl/h/UUAX6x2Afxqnzcw6ax24/vSAZz/AMBP51sVz1rMx8W3csdtPLmApuDKAQrKOMsO+aAOhoqm2oBZNj2V+D6i3LD81yKsQyiUHEcqY/voV/nQBJRRRQAVUvbiLJtBdtbzMB86hSUznB+YEc4NW6hmtonkFwttDJcqMIzryPbOMigCqEupr2NlmuI4omBYuFAk4wVC4zg9cnv0qe9juHntHhY+XHKWlUNjcNpA+uCQcf5LbGGy3te2qpmYYZk6Nhjnj6k81boAqy2/2iUJNHsghdXjVX4kI5yQOgBwQM9RzTnS5a/jbei20ak4BO53ORz2wBz7n6VYqnql8ll5Cs8MZmfYrzSbFBxnr6+goAk0/wD1L/8AXeX/ANGNU0pZYnZF3MFJA9TioNOIaBypBBmlwR/vtVodaAMnw+Nz3U+S5k8s+YeN+U3njtguwx7Vq1U0mHyLMDay73aTa3VQTwPwGB+FS3txHbW7yyMFwOPc9qAOc8QQSRag8j8rL8yn+lZ9Gs6hK3kyy4kmkYxqM7VGAWyT2GAfyqLwxLJPcIt55U0aMA1wgxE+c5A9x7Z7UATbm2hCzbAc7c8ZqqJ7j95/oUrbFLEqeMDsM9SeMDvz7Z7C5sbW6EcKRtGsR5YIQMdxnvXMXUrRwSNglYlZgo74H86AMmS5ZZDdjRblrjyyBzk8ZwPQfX3/AD2LUsy79pD7Og6gn/8AXWLZ+IbG6ljhjWYu6krhDgkDOATjP5UT65v0+8tYF1G0vi0cfmQ25fyj98jOVI4GDjkUAdnZae8Fo91cZErFQFPUDcOvvW+etYdhMkekrpU179pv7WONbgsfmZgwBbqevXqeoq1qOpbJTaWSme7JxhRkJ7n/AD9aAM/xheExpp8LHdIcylRnavbPp6/gPWk03WmhjWG4QuijCsvUD0rOtPE2k6c95b3dvdSXqStHOQgbzSMnjJAPQ9OnGcdBPFPY6xA8lhZzW06xiby32/MhJHRSQDlTx7UAW7rXpmytvEIx/ebk/wCFUJbx5ZYZr6d5rezWW/lhwCXEa4QY/wB5sj/aUVWppijeWORoY5HQjYWQNjnI6+/NAGlqcHi68YItrpccZwebxwBnqGUR9R6gkH2rmPGNjrFloMtzqdlbrFCyuZra43ovOPnDKpA5xnBHPNeg3V9HpWjm91KUny1G/aMszE4CgdySQAK5GVr/AF95RrMiRWZbzIbMj5UA5AkI++e+OgIoAigeI20M0EQRXjOxQMEZG4Ae+QtXDlVOc7m657CqNvqtlcXf2WzlR5A+FGOHwRuCt0OM846Zqe1LG2iL8sUXJ98UAT2523Ebejg/rXUXP/Ids/8ArjN/7LXKVv2F19qv7B2OXWGZX+vyUAbVFFUdW1S30+I7mEk7A+XCpyzH+g9SaAMHxBcG41qRM5S2URrz/EQGb8eVqlTUD/M8rB5XYvIwGNzHkmnUANkjjkXbJGjr6MoI/WoVsrJXR1s7YMmdpES8ZGPT0JFWKKAGoqogRFCqowABwKSaRIYmkkYKqjJJp9VJP3+pLH1jgXew/wBs/d/IZP4igDW8H2+ZrfepUxx72Hox/wDrmuurF8KxYhmm/vMFH4f/AK62qAILX/WXP/Xb/wBkWqdjH5+sXV2w4jPlJ+XP+ferlr/rLn/rt/7ItSQQxwx7IwQMljk5yScmgB9FFFAFfUoRcWMsWMkqSv1HSuQh/wBavsc129cjeQ+RqU8eMAbmX6YJFAFTrzRRRQAUUUUARXj7LC5wqkmFsEjpwelAnjgt1eVjgqFwBksT0A980zUSF0+5LEACF8k9uDTNIgkvQl0Y2cjPk5GAidN3tnrk9jigB1lC6hp5wPtEuC+Odo7KPYfqcmrkUMkpOxcgdSeAPqakIt4o2DHzpT02n5V/HvTJZpJQFYgIOiqMKPwoAq+IPJh8PantImk+xT84+Vf3bfnXEV1+v/8AIv6n/wBeU3/otq5CgD1DwXcNHaaqotLiQDXNR+ZAuD/pUnqasXPiRo9Wm0u28Pa5fXEEMc0v2eOHCLIXCZLyryTG/TPSua8Nnxlv1k6UdKe1XxDqOxZWIOzzz8rYGQS2/kdBt4qzYJ4mudU8WIyJHqzaXp21LGUIdvnXWQjucBiu7BJABI6UDW5vf29qP/QleJ/++LX/AOP0f29qP/QleJ/++LX/AOP10nhuO/i0Cxj1RmN6sCCcswZt2OckcE+pHetCm1Zkp3Rxf9vaj/0JXif/AL4tf/j9V5ta1Vry2kTwR4l2rvEh22ucEcf8t+eQK7yikM4AeIvERYP/AMID4gWP/nmTbb/z87H4frVv+3tR/wChK8T/APfFr/8AH67SigDzvUtT1a4nSZfBHiZjbbZIFxagmTPOf3+OV4/E1ctPEWrSRh5vAXiiB8/cP2RuPqJ8V3FFAHAaRq2q2umW9vL4J8TeZGm1sLakZ/7/ANW/7e1H/oSvE/8A3xa//H67SigDi/7e1H/oSvE//fFr/wDH6p6hrGszyQJF4L8RrGrF2do7UkMB8uB5/PJz+Arrtbh1KWfTW0+d40ju1a6UFQHi2sCDkZ67TxitKgDz+11rX45IBP4P8RSqI3850gtUDOSu3A+0E8Dd3qS01S+gRd3gvxPJKAwMjR2uTubcR/r+Bnt7Cu8ooA4v+3tR/wChK8T/APfFr/8AH6y9b1DWJ5rK8sfBXiZbq2nXki1AaJiBIp/f88cj3Ar0iigDi/7e1H/oSvE//fFr/wDH6P7e1H/oSvE//fFr/wDH67SigDg77WdUmiRU8E+JsiVGOUtegYE/8t6sf29qP/QleJ/++LX/AOP12lFAHF/29qP/AEJXif8A74tf/j9H9vaj/wBCV4n/AO+LX/4/XaVxWoW3i+XVfEZ01ry1DxQrp0lzPFJbs4I3MqKdyADIII+bk56YEAv9vaj/ANCV4n/74tf/AI/R/b2o/wDQleJ/++LX/wCP1hS2nxXhuW+yXB2M4AMksMiggKCx3DOw/vCAuG3FM/LuqPVbH4wBktrXVlmt2ExecR2yzA4+RegAzjqAfmY546MEdA2vakFJXwR4nY44Gy1GT/3/AKZ4c1f7ab7fpeqQ3tvcCG7SeOIMj+WkgUbXI27ZFI57nPOaxNMj+MQmtbjULiJ1F3Gs1vGLZFaEu+8lsMcAbMYwcds5NdDoX/Iz+MP+wvF/6QWlFtANH7XJ/wA+F3+Sf/FUjXLMpVtPuypGCCE5H/fVWqCQASTgAZJpAYVlq01tEIrvT7gQxSNAs25STt+7uyeMjvk8/WodKupv7Tt5JdPulkksDI64TgtJuP8AF71rWDCae9bKSQySK8RGCrKY1GQeh5DVDK8cXiEySMsca2BLMxwAPMFADr7V4rGBprm1u0QAnhFZiB1wAST+AqaO9aRFdbG7KsAwO1eQf+BUGzWa4a4knkdTsMaq2AqjBxx1yRz6jjpVugChdahNH5Ij0+6JklVOQnA5J/i9Aam+1v8A8+N3+Sf/ABVVprhY7xry54t4H8pXLAKmR8zn8flz2596bYeZcWZvPtCTEOxguJkIxHjGcYGOh57j60AP/tKRr77NFY3DeWu6bhMrn7o+91PJ+gqKZ7m4leK6tZxbH7sUeAzj1Y7s+nA/+tVezNrFbSW5nn+2XjG4VY/3crgngjAHYDPpnntWrbWNvbzGZFdpCMbncuVB6gE9ASMn1NADY7gxosaafdqqgBQAnAH/AAKnfa5P+fC7/JP/AIqrNUtc1BdL057xoZJsEKqJ3YnAyewz3oAWa7uPLPk2Nxv4wXC4Hr0aorZmjleeSzu5Z3wC5RBhR0UfNwKtWFx9rs4rnyZYPMXJjlXay+xFT0Ac9ZX39nOENvcrbTXEqKjbP3bmRsY+boenscetbH2qT/nwu/yT/wCKqPThbzRT/LFIRPKj8A4O88H8/wBah23FrdW9hbuGgc7gSSWiReo9weAO4z36gAtfa5P+fC7/ACT/AOKrlvH89yy2En9nXptFmxcEKvAIwM/N03Fa7KqHiGF7jR7iBATvXB29cZ5xQBx2g21xeafFGttcgMvmEkKSgbpjLZ4zgfStbw3Z2el3cttHZ6hc3AA3yyRxgZH0br79TU3geVYrBbJopFdfuu4yWXqoJHsRXSUAZOp6xNabAul3chkyF+7976bqzNTS+uolvf7Ku0lK/vIxtzx0I+b9K6K4hhM0d1K5XyASMnCjPUmsDWdcuDem10srNuXbkLn5j6f06D3oAw/tMn/Pjdfkv/xVQy6pdR4Fil3DPnbuREY4Pb72B9e1dHa+GpJQG1C5OM/6qPoR6H/JrbsdPs7If6PAqnGNx5b86AOEg0u9uLDzJtKurR/tHmtOWDSsSR3LZ/Hv+Nb2iwf2HNcTXFnqMrTMF84BSu0ZIBUH5cc8njnrW/qP/Hm/+8v/AKEKsnrQByjWutzSvNZ6vfxW8pkYbYY5M7vukF2IXb0woA46ZzV3Qo9Ys3uG1K8v9S8xv3QNtDEI1yePlPJ5HJ9K0ZYpLWZri0j3o5zNCMDJ/vL2z6jv9eozXN02xFe2g/jdxh29lHb6/l60AYsljFqV09y1rqMVvuKhISi+ZjgknORznpj1zTNZtrPTtPk1G1028t5rZd0eGXbI/wDCrAsd2TgevPFdPGiRRLGihI0UKoHAAFecapHH4mvpr2/aWSzWUraQrKyxlFPDkA8ljnr2OKAMvVrzWda1oxyPextayHzJIhG8cDYOFQElS/PJ5wBg8nixJBe3SrHqDXUkOMPDDEkayf7x3E49gRWzFHHDGscUaxoowqqMAD6VteHrHzpPtUy5jT7oP8Tf/WoAxpbPyfDDsmm3ELKNtthEzF8pVSuTwckflWJb6pf2+owafeWrXDSqzJJEFVwqjlnTOAM8ZB6npXoniTjSmPHDr1+tefzbtP12KWMxsmpOEkV87kKRk5U+mF6H6jvQBofapP8AnyuvyX/4qq1t4ostJ8S263UN0P3LiRUj3sucYJCk+lWL+/tbKESTzICw/doDlpT6KOrH6Vn6Zata3dq0oxc3Cyz3B9ZDs/kAB+FAGzqfiCbUJVlthqCWLALsXYvzdRuIOcEdOcZBBGaqxyiMER6fcLk5OFXk+/zVCYbf+2NjRqQ0fmFXGV3gjBXPQ8HOPatGgCt9pf8A587r8l/+Ko+0v/z53X5L/wDFVZooArfaX/587r8l/wDiqPtL/wDPndfkv/xVWaKAKr3bKjN9iujtBOML/wDFVX064cWiSGzuS8o8xyAvJbn+9+H4VbvJXjRFiKCWRwibucepx3wOa1fDGkRtAitu8iABRn+M0AbGlSvBp8Mf2C7ztycBOp5/vVa+1yf8+F3+Sf8AxVWaKAM+1u5PMuf9Bu/9d6J/dX/aqf7XJ/z4Xf5J/wDFU61/1lz/ANdv/ZFqegCt9rk/58Lv8k/+Ko+1yf8APhd/kn/xVWaKAK32uT/nwu/yT/4que8RSTLfJPHp9425ORtU4x/wKt7U7+KyiOSGlI+VP6n2rlZZpZZWldyXY5JzQBWa4YglbG6BHVSF4/8AHqZ9qk/58rr8l/8Aiq0Yrm4iUEysRj5VbnP59qYZgx/eRRt/ujaf0oAo/apP+fK6/Jf/AIqo7q/a3t5JmsbohFLYAXJx2+9Wltt2HyyNG3o4yPzH+FVtQtZ5bCURKC23KMOQGHIz+IFAGRfNdXFjKb20l2rEzeUijbu2nqS3OK2rm8ljtra2FldKFhRnGF5YjOT83uKqyyrcaS8yfdkgJH4rWhesGuXI6DCj6AY/pQBR+1Sf8+V1+S//ABVH2qT/AJ8rr8l/+KqzRQBk69cudB1IfY7kf6HNyQvH7tveuYrstbRpNC1JVxn7FOeewEbE1xlAHq/gUAWOq4AGdc1En3/0qSsXxBf6XHr/AIy0m98QaZo11qXh21gtZLy7WH5mN4oYZIJAJGcVreCo7hrLVDHcBF/tzUcDys/8vUnfNa5kaGQR6hHGyk4jn2fKfQEfwn9D+lAHOf8ACwbn/oPfDf8A8KM//G6P+Fg3P/Qe+G//AIUZ/wDjddb9ni/54R/98Cj7PF/zwj/74FAHJf8ACwbn/oPfDf8A8KM//G6P+Fg3P/Qe+G//AIUZ/wDjddb9ni/54R/98Cj7PF/zwj/74FAHJf8ACwbn/oPfDf8A8KM//G6pWXjS/t9R1C6k8WfDyeO6dGihfxGdtuFQKQvydCQW7cmu6+zxf88I/wDvgVR1W2t7gw6c9vGVuCWf5P4FwSPxOB+JoAwP+Fg3P/Qe+G//AIUZ/wDjdH/Cwbn/AKD3w3/8KM//ABuut8iL/nhH/wB8ClW3i3D9xH1/uCgDkf8AhYNx/wBB74b/APhRn/43R/wsG5/6D3w3/wDCjP8A8brd8OW0H9i2j/Z4txiAJ2DOMn/E1ofZ4v8AnhH/AN8CgDhtQ8bX9zdafNH4q+HdutrcmWWNPEZxcKYpE2N8nTc6v35QfUXP+Fg3P/Qe+G//AIUZ/wDjddHq1lHNp8qLaxuwAZV2gEkHPB7Hile50xIPtDvbpHsWQllAwrHAJ9OeKAOb/wCFg3P/AEHvhv8A+FGf/jdH/Cwbj/oPfDf/AMKM/wDxuusSKB0DrFEysAQQoII9ayNcSBZyqWCpcxRG6hnUKASnVW77cHBzxg0AZX/Cwbn/AKD3w3/8KM//ABumXHj26lt5I18RfDiNnQqHXxGcqSOv+rrrbdYJ7eKdbdQsiK4BjAOCM0/7PF/zwj/74FAHE6T44vbPS7Szm8UfDu7lggSJ55PEZ3SsqgFz+76kjP41Z/4WDc/9B74b/wDhRn/43Vy2t9R0y/1Ob+wY7qG5uvNUwSIG27QBhDjnjnnk81O39tXxzZ2FnpkQ6PdxeY7/APAFI2j6n8KAMz/hYNz/ANB74b/+FGf/AI3R/wALBuf+g98N/wDwoz/8bq2+pQlrfTdUtEs9RaaMKpj/AHc5DDJjbofXHUZrovs8X/PCP/vgUAcl/wALBuf+g98N/wDwoz/8bqfwn4q0O3vtXv8AXPGfhFZb6eN44bXWUkSJViVOrbeSQT071032eL/nhH/3wKPs8X/PCP8A74FAEP8AwnXgn/ocfD3/AIM4f/iqP+E68E/9Dj4e/wDBnD/8VU32eL/nhH/3wKiuja28YaSBSScKixgsx9AO9ACf8J14I/6HHw7/AODOH/4qsXwfqFjqeteLL3Tb22vbV9XjCTW8qyI2LG1Bwykg4IIrSt9Mjk1D+0rm3UTBTHFHtGI0z+rHv+X10VQKMKgUegGKACquq2893ZNbwTLCZCA7ld2F74HqelW8H0NQ3kU8kY8iQxyKwYE9D6gjuMUAN0/zPsMPnKBKFxJtXaCw4JA7AnJ/Gs24kgk8WR2sscjlrLcP3bFMiQEZPTt0rawfQ1hapC15r5sUYqJLHExVsMiGTt7nGP1oA0Z55o9VtYFwYZEfeNuSGGNvP/fXt+mbdIIkEjSCNQ7AAsF5IHQZp2D6GgDN0maHzbqwaTfPHcSs64PCuxcfo4H4GoZ4ZWurP7UFYXE7LIgOVEaq7IvvyBn1qaazjutRuIZI38opFKxVip8wFgCCOQcAfp71ZvbYy2LQxIAygGLPAVl5X9QKALGBkcDjpxRUVrMLhCdjo6na6MMFT6f/AF+9TYPoaAMGPw/PHdSTR65qKLIWLIJMjkkjGc4IJ/HAo/sG72lR4h1Jd775CGGWPy9M5wML0Hqa3sH0NGD6GgDn7XSdSstSt5Bq97d2u5jJG7Dqe5PcDnj3rU1G4a38rb0yzScZ/dqpLfj0H41NFNvuZoGUq0W0+xUjr+YI/Cs3UJpNR0TfbsbdJp0SOVuPl3j5se+OncfWgBvhlXzcM27IYpJk9ZA75+pAKgn2qzBBJNZrdJLtvJUV9/8ADnHC4/u8n8eaZA32LTPIgyZWnlihDcksXbk/qT9K0LaEW9tFbpuKxIqAnkkAY5oAZaXC3ERbbsdTtkQnlG7j/wCv3FZnjO+ay0OVYs+dcfuYwB69f0zVvUnispor53EQZ1hlJ4DKeAT9Cc59M1jeK/K8QaTcaXYwzSzOuI51UgRN2b8CPbOKAINGsb6eUFr6S2jtrlpJgrHEg3EhTz/dA6+tbN1q3mO1tpsbXM/Tco+RT657/wAvequmaFdNBHHqE7FQFLRRnAdwoUsfrjOOcetUzPrcMkn9iz6LLp+W8kyOAcqD8mQeTkAEnnk0Aa6abLdLu1WbzjkYjjJVFwOfrnr7dqvpbW6BAkEahDlcKODXHjUPHklyI1h8OIvBfZcF2QYJ4yRnoPzb0Ge1ypYhTn29qACimCaIz/Zw4MuM7e+KkwfQ0AVtR/483/3l/wDQhVk9ar6iD9jfg/eX/wBCFWCDnoaAEopcH0NGD6GgDD8c3k9n4cm+zMyTXEkdsjgZ2eYwUn8ia56CKOCBIYl2xxqFUegAwK6TxnYXF/oEqW3+ugdLhFPRzGd20/XFc1bSrcW8c8YbZIoYZHODQBZs4WuLqOFf4m5+neuxhjSGJYo12oowBXOeGw/9pAiMsNhBOPu10+D6GgDJ8VN/xKZIgR+8BB9cYPP57fzrlLy0tbyEQ3UEc8YIYK4yMjvXQeLn3PBb7MnIbPpg5/mq1jYPoaAKNnpOnWlwZ4LVVk6KSS3lj0QH7g56DFOn/wCQvaf9cpf/AGWrmD6Gqc4P9r2nB/1Uv/stAD7qKUzwzxAOY9wKM2Acjr9R/U1GjaijCWeOFkxhooSSV9wSBn6fzq7g+hpVVmYKqkknAAHWgCqb61CbvMP+6FJb8sZqPztRZ1aOzhWI9RLMRJ+QBH61ozwTQSGOaNkf0Ipm1sZ2nHrigChM+oAmdUjWOMZMOdzSevPb29farkbLIiujBlYAgjuDTsH0NVI1ntHdFheWAndHtxlPVee2efxoAZYl7t49QfCxmM+SncBsZLH14HHaur0C68uVbE4ClNw/3jyf0/lXPaVbulukcy4wWeTHYFixGfxxVkzS/ajcJlH3bhjtQB2lFYlnro27bqJtw/iQdfwqR9egB+W3lP1wKANC1/1lz/12/wDZFqeuetde3S3QW1I/ek5LeiL7e1RS61fv93ZGP9lef1oA6ViFUsxAA6k1i6prQU+XZkFgeXIyPwrImmurk/vJJZPY5xUfl4+8wHsOTQA2R3kcu7F2J5J6mnEKg55f07D60+VfLCmIHaw4Y9ff6VDg+hoAGJYkk5NFGD6GnxRSSNtRfqT0A9TQAkMbSyrGgyzGpb29jsom+zyFIYvmZx1dv89BRLIkMLRQngj95IRjd7D0FZkAN7KtywP2dTmFcfeP98/0/OgBLB5hapZyaa+1YXAkDqAFAJXdzkkDHbrVtG3IrHqRmpkytreynP7u0lP5qR/WoYQfJTg/dH8qAHUUYPoaTI3FcjcOo7igCDW/k8Lau/d7OaMfTy2J/p+dcVXbeKFKeHb6LuthMzcdzGx/liuJoA9nuPAfhqe7uLo2+oRSXErTSiDVbqJC7HLNtSQKMkknA6mo3+Hvhh1KtHqzKRgg61eEEf8Af2iigBlt8PvDIt0ATVwAMD/id3v/AMdqT/hX/hr+7q//AIO73/47RRQAf8K/8Nf3dX/8Hd7/APHaP+Ff+Gv7ur/+Du9/+O0UUAH/AAr/AMNf3dX/APB3e/8Ax2mH4eeFzOrmPViyqQD/AG1eZGcZ/wCWtFFAD/8AhX/hr+7q/wD4O73/AOO0v/Cv/DX93V//AAd3v/x2iigCK1+HvheO3REj1ZVAwANbvMD/AMi06bwD4bWJmVdXyB/0G7z/AOO0UUAKnw/8NY+7rHU/8xy99f8ArrUcPw78LIwKRasp2441q86Z/wCuvufzoooAba/DvwvBbmOGLVo0QkIq61eAKPQDzeBTj8PPC8kOZItWYtHtbOtXnIPUf63pRRQBL/wr/wANf3dX/wDB3e//AB2j/hX/AIa/u6v/AODu9/8AjtFFAB/wr/w1/d1f/wAHd7/8do/4V/4a/u6v/wCDu9/+O0UUAVL/AOHPhSW4t5JINUd4tzRs2s3hKnjkfvfarY+H/hrA+XV//B3e/wDx2iigA/4V/wCGv7ur/wDg7vf/AI7R/wAK/wDDX93V/wDwd3v/AMdoooAP+Ff+Gv7ur/8Ag7vf/jtQx/D/AMMvIsjR6sWUMAf7avOOf+uvsKKKAJv+Ff8Ahr+7q/8A4O73/wCO0f8ACv8Aw1/d1f8A8Hd7/wDHaKKAD/hX/hr+7q//AIO73/47R/wr/wANf3dX/wDB3e//AB2iigA/4V/4a/u6v/4O73/47UQ+HXhUXZmEOqiQptL/ANtXmSM9M+bRRQBL/wAK/wDDX93V/wDwd3v/AMdo/wCFf+Gv7ur/APg7vf8A47RRQA0fD7wz5zNs1fJUAn+27z3/AOmtO/4V/wCGv7ur/wDg7vf/AI7RRQAxfh74XWZ2EerBmA3H+27znGf+mtP/AOFf+Gv7ur/+Du9/+O0UUAH/AAr/AMNf3dX/APB3e/8Ax2j/AIV/4a/u6v8A+Du9/wDjtFFAEB+Hfhcwzfu9W+ctuP8Abd5z25/e+lSP8PPC5VVMerEAjA/tq84x0/5a0UUAQH4ceFGuVZodWLJkqf7bvflJPJH73vVr/hX/AIa/u6v/AODu9/8AjtFFAFG7+G/hSVg0sOrOfNAy2t3p49P9b09qux/DzwvGgSOLVUUdAutXgH/o2iigBw+H/hrP3dY/8Hd7/wDHa5Gb4U+BzLzp1/wxYf8AE4vOGJTJ/wBb14H5UUUAV2+EvgQxoTpl9nagz/a956Y/56+hI/Gusj+G/hRcSLDqwcgZYa3eg/8Ao2iigB8Pw38JxyGRINVV/wC8NavM/wDo2pv+Ff8Ahr+7q/8A4O73/wCO0UUANk+HvhlkKsmrkccHW7z1/wCutO/4V/4a/u6v/wCDu9/+O0UUAH/Cv/DX93V//B3e/wDx2j/hX/hr+7q//g7vf/jtFFAB/wAK/wDDP93V/wDwd3n/AMdrOsfhf4NS3CpZ6kqhjgDWbwAc/wDXWiigC9B8OvCsKbYodVQHrjWrwf8AtWn/APCv/DX93V//AAd3v/x2iigCtN8NvCUs+6S31V2x1OtXh9P+mvsKb/wrLwf/AM+up/8Ag6vP/jtFFAB/wrLwf/z66n/4Orz/AOO1G3ww8G/aI2+x6luCtg/2zecdP+mtFFAEn/CsvB//AD66n/4Orz/47T4fhr4RjkDpbaorDoRrV5/8doooAdcfDfwnMwaWDVXIGATrV5/8dpi/DXwiv3bfVR9Navf/AI7RRQA4fDPweRzaamT6nWbzP/o2o/8AhWXg/wD59dT/APB1ef8Ax2iigBx+GfhDYF+y6pj0/tq8/wDjtN/4Vl4P/wCfXU//AAdXn/x2iigA/wCFZeD/APn11P8A8HV5/wDHaP8AhWXg/wD59dT/APB1ef8Ax2iigBsXwx8HBnItNTGWOf8Aic3nPH/XWn/8Ky8H/wDPrqf/AIOrz/47RRQAr/DTwieDbapgdB/bV5j/ANG03/hWXg//AJ9dT/8AB1ef/HaKKAHH4Z+ENoH2XU8DP/MavP8A47Tf+FZeD/8An11P/wAHV5/8doooAP8AhWXg/wD59dT/APB1ef8Ax2kg+G3hIxupt9UxvIx/bV52/wC2tFFAEd18MPBroqNZ6kys4BB1m8wR/wB/adb/AA08INBGzWupklQT/wATm89P+utFFAD3+GfhD7PKv2XU9rqQw/tm85Hp/rajh+GnhAs6/ZdTwpAH/E5vOOB/01oooAk/4Vl4P/59dT/8HV5/8dqrY/DHwaDIRZ6kCQCx/ti8yTz1Pm80UUAW5vhj4Nm3rLZ6k6uCrhtZvCGB4IP72tj/AIRHw3/0CYPzP+NFFAH/2Q==">
            <a:extLst>
              <a:ext uri="{FF2B5EF4-FFF2-40B4-BE49-F238E27FC236}">
                <a16:creationId xmlns:a16="http://schemas.microsoft.com/office/drawing/2014/main" id="{E7705546-856C-42D2-8C84-2A9793CB750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4636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AutoShape 23" descr="data:image/jpg;base64,%20/9j/4AAQSkZJRgABAQEAYABgAAD/2wBDAAUDBAQEAwUEBAQFBQUGBwwIBwcHBw8LCwkMEQ8SEhEPERETFhwXExQaFRERGCEYGh0dHx8fExciJCIeJBweHx7/2wBDAQUFBQcGBw4ICA4eFBEUHh4eHh4eHh4eHh4eHh4eHh4eHh4eHh4eHh4eHh4eHh4eHh4eHh4eHh4eHh4eHh4eHh7/wAARCAJTAsk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37w94d0fWBq19qdtNc3LazfoZGu5h8q3DqoADgAAAAY9Kyr/wno1veSw/Z7nCtxm+n6dv466vwN/x4ap/2HNR/wDSqSmeKIdt3HMP+Wi4P1FAHIf8I1o3/Pvcf+B0/wD8XR/wjWjf8+9x/wCB0/8A8XWlcXNvbvCs8yRtPJ5UQY43vgnaPfAP5VNQBlxeGtExITbXBwnGb2frkD+/71H/AMI1o3/Pvcf+B0//AMXW5b7d5RuA4259D2P54p1taz3EjRxJkr97JwF+poAwf+Ea0b/n3uP/AAOn/wDi6P8AhGtG/wCfe4/8Dp//AIuugMNsn37ree4jTP6nFR291ZyReZDbM43MuZXz0JHQY9KAMm28MaH88slvcFEHQ3s/zMeg+/8A5xUQ8NaNkf6Pcf8AgbP/APF1v/aQy+XLBGY85AQbSPfPf8c0JbiZsWz7z12MMN/gaAOV0jw9pMumW8kkN0zsmSTfT5P/AI/Vr/hGtG/597j/AMDp/wD4ureh/wDIItv9yrtAHOyaRoMd79lksdRHy7jKLm4MY4J5If2x+IqGWz8MRyzRtaaopiZwxaW5C4Xdk534x8h/SupDMOjEfQ1QSDU40ljXU2limleR1mUPtBfIRc9F2/KR+NAFLTrLwotvcXEunanLt+RMy3JQHjk/Pz1HSm3eleHAjzx2OpCBGRM/aJ8sWJGcCT1ByO3ArTtLXxNJbzXK+II7cWwEvlJACoUZJxnvjjPt2yaj1Oz1sahFJDrJR4BMrAoNsm4/IWA4OB19yT7UAZ6aHocjhUtL4qQ5En2q4C/L1H3+tT2PhrR7yGN47O8UzMFjD3k4J46/f6c/oa0LBb6OIre3v2psLg7AuCBz09TWtpzH7Wzbj+7gcqfQ7f8AE0AYF94b0ATmOC1nCR/Lu+3T5Y9z9+q//CNaN/z73H/gdP8A/F1r0tAHP6h4d0mOBWSG5U+agyL6foWGf46s/wDCNaN/z73H/gdP/wDF1c1T/j2T/rtH/wChCie/gjuTapvlucbvKQZIB6EnoBQBS/4RrRv+fe4/8Dp//i6D4b0X/n3uP/A6f/4urqw3Up3T3JiGf9XDgcehYjJP0xSiwtScyoZ29ZWL/oeB+FAGDqWiaI1t/okjeZn7o1Gcl/YbXJ646CtDwZ4btNR1aT7TYs9lDGRJ/pE6qrnGFBZ95IAOSfWtRIYYzmOKND6qoFX/AAMWGuazHuKriFguThsg5b25/nQBd/4Qnwv/ANAx/wDwMn/+Lo/4Qnwv/wBAx/8AwMn/APi66GigDnv+EJ8L/wDQMf8A8DJ//i6juvB/ha3tpbhtJmdY0LFUu5yxA9Bv610tFAHn+jaZ4T12a4i0rR7mM2pInF3JdRk5U7dh34PzAZ9s1mDwfqB1K7t202xEi6c72228n2yTcBcqZOBknJz2969UrO/5mYf9eJ/9GCgDiF8GyLOVvNLt/KdxEphvJxnc6jcP3hIIXccZ7V03/CFeF/8AoGP/AOBk/wD8XWve5a7so1YD96XYdyFU/wBSKtUAc9/whPhf/oGP/wCBk/8A8XR/whPhf/oGP/4GT/8Axdb8siRRPLI21EUsx9ABkms7RnupoLbz2b9xAqSknmSbaN2fYc/j9KAKP/CE+F/+gY//AIGT/wDxdH/CE+F/+gY//gZP/wDF10NFAHPf8IT4X/6Bj/8AgZP/APF0f8IT4X/6Bj/+Bk//AMXXQ0UAc9/whPhf/oGP/wCBk/8A8XR/whPhf/oGP/4GT/8AxddDRQBy9l4M8MvE5bTpCRLIObyfoHIH8fpU/wDwhPhf/oGP/wCBk/8A8XWzp/8AqX/67y/+jGqxQBz3/CE+F/8AoGP/AOBk/wD8XR/whXhccnTWAHUm8n/+Lroaq6sW/s+VFXcZMRgeu4hf60Ac7pHgvw82nRPcadIztuYE3k+dpYlc/P124q3/AMIT4X/6Bj/+Bk//AMXXQgADCjAHAA7CigDnv+EJ8L/9Ax//AAMn/wDi6qW3gzw5czm4/s6RLdCVjUXs/wC8PILH5+noPx9MdW7rGjSNnaoLHHoKp6DbyWui2VvMwaRIEDkdC2OT+dAGX/whPhf/AKBj/wDgZP8A/F0f8IT4X/6Bj/8AgZP/APF10NFAHMX3gzwylqzLp0inK8i8n/vD/bqc+CfC+f8AkGP/AOBk/wD8XWxqP/Hm/wDvL/6EKsnrQBzv/CE+F/8AoGP/AOBk/wD8XR/whPhf/oGP/wCBk/8A8XXQ0UAc9/whPhf/AKBj/wDgZP8A/F0f8IT4X/6Bj/8AgZP/APF10NFAHPf8IT4X/wCgY/8A4GT/APxdH/CE+F/+gY//AIGT/wDxddDRQBz3/CE+F/8AoGP/AOBk/wD8XR/whPhf/oGP/wCBk/8A8XXQ0UAc3N4P8JwxNLNp5RF6s17Pj/0OsuXwfotxrFoi6dNa2rJIxU3k++TG3r8/y/z+ldXNGZNZh3ANHHAzAHoH3AA/XGeaS5/5Dll/1xm/9loAzP8AhCfC/wD0DH/8DJ//AIuj/hCfC/8A0DH/APAyf/4uuhqlHfebqZs4oyVQHzHPY+g/GgDL/wCEJ8L/APQMf/wMn/8Ai6R/A/hdhtOmygZB+W9uAeD/AL9dFRQB5xdeG9GiUQfYJVYDDsbycsWHB/j45Hbtiobfw3oguI91rcMu8ZBvZ+Rn/froPEC+Xrcq+WyiRFdTjhuAGx75xmqYODn05oApL4V0N3ktTbTrKrkRt9unG45+6fn/ACqq3hnR1Yq1tcgg4IN7Px/4/W/qS7dQnH+3n8+akUR3aGSRiskS5kwMmRfX60Ac/B4V0iUnFvcBV5ZjfT4Uf9906fw7oOPLhtLjaP42vZ9zH1+/x9K155jIBGqiOIH5UH8z6moqAMqx8M6LdLcRi2uPPjkOwC+n+ddo4+/17+9M/wCEa0b/AJ97j/wOn/8Ai60bJmWa4ZSQwnyCOx2rWhcKs8Juo12sCBMo6Anow9j/ADoAxh4X0OeImO1nWZB8yi9n+ceo+fqKr/8ACNaN/wA+9x/4HT//ABdbKMyOHRirA5BHap51WWI3MYC4IEiD+EnuPY0AULTwv4duIJH+xzCaKJsoL2fD8cMBv6is7/hGtG/597j/AMDp/wD4utuCV4ZVljbDKcipr6OPCXMAxDLnj+6w6rQBiz+F9EaFbiO2nAPyuBez8N/330P+NQjw3owIP2e4/G9n/wDi63bV1BaKRtscgwTjoexqOWNo5GjcYZTg0AZ0/hfRJUe4is7hFUqHUXs+FJAP9/of64ptr4Y0N1nVrW4LeUWU/bZ+COf7/pmtkTmKUSKnBADq3RxtXipAkcFxDcLuNrISOeoHRgfpmgDlr3w5o6Wc7LBchljYgi+n4OP9+nxeG9HMSE29zkqP+X6f/wCLrV1WMxWt3G3VY3H6GnQ/6pP90fyoAyv+Ea0b/n3uP/A6f/4urp8K6DNbfaYrS4DoP3kYvZ8H/aHz9PUVcUbmA6UyzupfNkljYqI5WSM/7Ixn9c5oA57WvD2kxaLqE0cNykiWsrIwvp8ghCQfv+tU/wC2NW/6Cl7/AN/2/wAa6vxRGknhrU7q3Xan2OYSJ/cYxt09jXDUAer+Bv8Ajw1T/sOaj/6VSVc8RwtLYhlUsyODgDJweP8ACqfgb/jw1T/sOaj/AOlUlbzrvRlyRuBGQcEUAfI/7Wfja58J+LfAtlHvie1vRqtwvTKK2xR+I8yvoiCOykt47g38bxyoHQQjflSMjnp0NfHX7Xfg7xNdfFqz1DU7yzSDV7lNN01GmZnRU2je/HALOTxk819N/DXTdZ0bwLpGj+IHhk1GxtxbSyQuXRwnCsCQDyoHUUQ1p69/6/QJ/Grdv6/U6qe8060iL+QCAf8AWXD/ANBVa6vL7U7R2iiCAA5jlBUSj1Cjp+P1xSGNGcOyKWU5UkZI+npU0HAkk/uocfU8f1NAGLbXEEV2jQM0duYJJJYi2djKVzkH7pGT9au6WMabbY4BjVvzGai1TTba/jPmKVl2kLIjFWHHQkcke3SpbG4aVDFNhbmIASqPXH3h7HtQBZpVyGBHBz1pKF+8PrQBBoU27SLUTIJR5eM9GH4/45q6IUk/1EmW/uPwfw7GsbQbq1bR7Xbcwn92D/rB0rToAGBVirAgjqDRUqTnG2RRKpIznr+B6inGBZPmtmL/AOwfvj8O/wCFAFnSkJtp8YzM6W/PTDH5v/Hc1UvJPNu5pP7zk/rWjo2Gjgi3KrG4Z8k4Jwn3R7nPT0DVktwxB65oAKuWzBbe6uO/liPGehJAz+QqnTo922RR/dyfwNAFO/M0SG6ic4iUs8WMh1HJ+h9KsqQyhh0IyKWqVv8A6HMto3+pcnyGJ6HqUP649uO1ADPELmPSpJA21lZSp9DkY/WrdvDHBHsjXAzkk8kn1J7mqPiPzPsMTKu9EuI2kQAZZQ2cDPvitFGWRFdGDKwBBHcGgB1FFFABUnhGES+Mbu5Un9xZrE2D3Zs4P4dPqar3M8VvC00zBUXrnv7V0PgizkttDW4uEKXF45uJFPVd33V/BcfrQBuUUUUAFFFFABWf/wAzMP8ArxP/AKMFaFZ4/wCRnX/ryP8A6MFAEyFG1eTGCyQKD/s5Zjj8cCrVUtDYyack7DDzO8jH1yxwfyxj2xV2gCtqsE1zptxBbsqyuhCFhlc9s+1Lpvl/YYjCrKpXOG+9nvn3znNWBVTSVZbV2LZ3zSuB/dBc8UAW6KKKACiiigAooooAr6f/AKl/+u8v/oxqsVX0/wD1L/8AXeX/ANGNVigAqpqLMZbOFVLCScFsdlUFs/mFq3VV9z6rENw2RwszD/aYgKfyD/nQBaooooArapk6fOoJBddgIOMFuP61ZVQqhV4AGB9KbNGs0LwyZKOpVsehqDTZHe1CzMGmiJjkIGMsvGfxGD+NAFmiiigCvqP/AB5v/vL/AOhCrJ61W1H/AI83/wB5f/QhVk9aAEooooAKKKKACimysyRlkjMjDooIBP51Ujm1KNibqzidD0+zOWZfqGAz9R+VAF2orubyIC4Qu5O2NB/Gx6D/AD0qv9pvJh5cNjLAxP8ArJ8bVHrgEkn2qWG0SOc3DSSyylQpZ244zghR8oPPUDNACWdvJGxmuJ2mmZQpOAFUegA96iuf+Q5Zf9cZv/ZavVRuf+Q5Zf8AXGb/ANloAvUyKKOIMI1A3MWPuTT6KACiimySLFG0j/dUZP0oA5LXLhrvWHbP7q3BiiHvn5z+Yx/wGqlPdRgOMjeSxzzls5Y5+p6e/Sm0AWdSO6dH/vRIfx2jNQQyPDIJIzhhUt1zDbP6x7fyY1BQBPcxoUFxCMRscFf7jen09KgqS3maFyQAykYZT0YU66iVCskTFoX+6T1HqD7igCjaf6y5/wCux/8AQVq5bTGGTdjcpGHU9GHpVO0/1lz/ANdj/wCgrVigCa6hEZV423RPyjf0PuKZDI0TblwQRhlPRh6GrVmojgZrpttvIOFxlmPqvp9arXMRhk27gykZVh0YetAD54lKefBkxZ5U9UPof8adZSoA1vMf3MvU/wBxuzUW8UsJWaRxAp/vDJYf7vf+VEtxGrOLWFY1bglvmb9en4fnQBDcRPBM0MgwynBqXKzwfvHVJIxjexwGX0z6j+X0qWEm9i8hyWuFGYmJ5b1U/wBKqxSFGKAkNtZiAOR0HJ9Ofzx6UAI7bsfvC/fPbJ7D2qW2mVQ0M2Wgf7wHVT/eHvUFFAE3iKBk095ydweBlLDoxC9fxGP1qtD/AKlP90fyqS4uWTS7qCQeZC0TZUnocHkehqVYkhhjmjkEiFR5fYg47j2oAYfkXb/EevsPSqOkLixDZyJJJJB9GdmA/WrTjcrKSeQRmquns0a/Y5FUNCi4ZfusvIB9unIoAh8Q3k1to1/FAgkeayuAys2FCCM5J9eo/E1yf511VxGLzRtavWysQsZwrYH+rEbYI/3m/TFcpzQB6x4G/wCPDVP+w5qP/pVJVnxnr1p4W8Jat4kvlZrbTbSS5kVerbRkKPcnA/Gq3gb/AI8NU/7Dmo/+lUlS+PPD0HizwXrPhm5kMUWp2clsZAM7Cw4b8Dg/hUzvyu25UbcyvsfM2o/DbxX8c/CXg34pXHia8E13qW6bTreJFj062M5jMkHdmUIhJbOeT2xXafDnxXeH4ieLPhrrF/Jqd74dlX7PqEqKkl1CQMmQLxuBYcgDIIrxHU/ip8SfgfceEvAt/wCH7a0l8LPO6yeezR6rbzM3XHG3nII5BUdCCK9W+CHh/XtQ8ZeJPix4o0yPSL/xKENvYI+8xQ4U7if9rauB14rVct3y/Dr+lv633Id7e98Wn63/AK9D16n5xb4x1fk/Qf8A16ZUnBtj6q/8x/8AWqBkdV7m1jndZN0kUqjAkjbDY9PpViigCjPHe24EtvcNOi5LxSoGZh6Kwxg/XNXIJFkVJY2DK2Cp9adVWOP7NfM+TFBKvAP3WkzyQegPI475oAo6TpunzaZbySWkTM0YycdcDH8hWwaoaO6R6LbPIyoojGSTgdali1C0kkKLLg9iylVb6EjB/CgC1QCQQQSCOhFQC4ikRvs8scrAA4Rg3H4Gpgu0D98JRgHd5ZQ/ip6UAbFnJ59pDbsI2uLi4Ox3wCmwA7h6sO3fn0BqrPDY+c5+2uTuPAiPrUmkMjQXUU6s0Kx+cAv3lZehX0NQarGY7wq+3zdimXb0345oAafsKnG25f3BVafE1idy4niBXG4kNj8AKqU5fuv9P6igCd7VS3+j3Ecy/XafyNVby0yhiuoGCnswI/EUtPjmmj+5K4Hpnj8qAMfU7P8AcDddXTxmaPMbScfeHGev61Z0natqY423QRuUhP8AsDoPoOQPYVY1O4DW6ebBE/76PJA2k/MO4q75dq8LyqZIQpCgHDAn9KAK1FTi2L/6maKQ+m7af1xUckMsfMkbqPUjigBug21vf+LDHeKrpZ2omhifkO7MQXx32gY/4HXcVwdrBdf27a3tnJAJ41aNVmB2sG6jI6Z45weQK6C4XxHKpuH1DTtJiQZKeT5/Hcs5KgfgPxoA3KKx/C2pXGowXXntHOsE3lx3UcZjS4XAO4KfTOOCQcZFbFABRRTJ5o4IzJM6og7n/PNAD6w9ZBk1V7dSwa4sfJUr1G6QAkfQZP4VdP8AaN0BJDKlnH/Crxb3YdieRt+nX+Qz5lu18XQTTQrcLHYsAIBhstIBnDHsPfuaAN9QFUKvQDAoqq93LkBNPu3JOM/IAPrlqR/t0xCqq2q/xOSHY+wHQfU/lQAX07lvslqT9ofG5l/5Yqf4z2+g71YhjSGFIoxhEGAM5pLaCO3j2Rg8nLMxyzH1J7mpKACiiigAooooAKKKKAMO70/UL1FksdXnsDFNNlUVSsh83PzZHTAI4x96p9Ds9XtJJG1TVlvlZFCgxhdrAnJ4A4ORx7fnd0//AFL/APXeX/0Y1Q63pNlrNl9jv42eHeHwrYOR7/QkfQ0AX8GqkO9tVucxlVSKNQ2PvfeJ/nWPN4O0mWFYjNqKgY5S7ZSQBjHHbmm6Z4a06z1uWaNr0PG0UyE3JIbAcYI7gEng+1AHSDkcc/Siufs/CGj2tultD9qEEZysXnEKDknOBj1rfjURxrGuSFUKMnJ4oAWqmWg1TG0+XdL1zwJFHT8V/wDQat1U1jctg8kePNjKvGD0LAjAP1PH40AW6KBnHPBooAr6j/x5v/vL/wChCrJ61W1H/jzf/eX/ANCFWT1oASiiigAooooAKKKKACiiigAqjc/8hyy/64zf+y1eqjc/8hyy/wCuM3/stAF6iiigArnvEN7M072Y+SNcZ9W/+tXQnp61y2vTw3F2skO/cF2uGXGCDQBTR/8ARnRvuKwkY91/h/Hlhx7VHU9sqtDMpl8t32IhHXJYdPy/WkS2kYFnAiTu0nH5dz+FADphnT7ZvRnX+R/rVerhWKSwaKGRnaJvMOVxkEYOPpxVOgAqe0kVSYZv9S/3v9k9mHuKgpUVpHCIpZicADqaAIkiaG5u426ibqOhG1cGr6RJbRCa4UNKf9XEfT+83t7Uthsjae3Zo3u1mPlsRlUO1flz3P6A1VkZ2kZpCxfPzFuuaACaWSaQySMWY96tafMf+PdigPPkuwB2N+PrVOigB0xkMrecWMmfm3dc02rR/wBLi3Dm4jHzf9NFHf6iqlACqSrBlJBByCO1W9RLNp8up20SyzhCkkOdpdj6HtnAP4VUqazuBbyHeN0TjbIvqP8AGgCrbSia3jmUYDqDj09qkqK6tU0/WFjjP7q4iZ1I+65BGCB64Jz9KloAiu0aSznVRkmJ/wD0E1O8iybSihECgKB6Umpf6PpNwuf3ssDFv9lcHj8ajh/1Sf7o/lQA+s3Uo3a+hUMVhmQrcHIACryPzyR9DWlUEVrDcat517GJLa2hDKpH35GYjHvwtAC+IWWPwheJGR++sZpTj+75bbR9Mc/jXEV2XiWRpdE1WRzlms5if+/bVxtAHonhRPEDRasbG50pLf8AtvUNqzwSM4/0mTOSGA65rY8vxZ/z+aF/4DS//F1F4G/48NU/7Dmo/wDpVJW/QB8M/th+EPiF4q+L1xcWPhy+1iHTtLgWSfTbGVolHzNgdct83IBz7V9C+E4PFKeENCaSXTIWfTLdtkttKHXMa5DDdwQcg/SvYsmsXxRBugjuB1Q7W+hoj7sXH+uv+YS96XN/XT/I4ny/Ev8Az9aP/wCA8n/xVPiXxLskX7Vo3zL/AM+8vUH/AHq06kt0eSXC44GWJ6AdyaAMXy/Ev/P1o/8A4Dyf/FUeX4l/5+tH/wDAeT/4qtyY2zNiJZEUHgk5yP6VEy7WxkH3oAyPL8S/8/Wj/wDgPJ/8VVmFfE81o1oLzRxglwvkS4fI5H3/AEFXa0NJ0+6uJ45UBiRWDCRh/L1oA4fRLHWf7NtpI/7CB2Agm0fd+e6tCSHxFIhWS40V1PUNbSEf+hV0Ol/2TBpduGhkml25YK2FHPSra3OjZ3GxlB7LuyP50AcpHpXiS+byYn0ctggMlvIpQH0bdxVu8t9dtwsMd9ok8i4DubaYjp7SDmtm71F5FMVvGttCeqJxn6mqVAEMUmurBNHDdaDD5sZRt9vOT09d5xTrm28TXuLhZdGjllLfdjdldh1AO/I9sgVJWhdR+RZRwkqjJ8zHPzOzAfKB2AGCT64oA5lovEysVa50gEHBBt5eP/HqcqeJfLf/AErRucD/AI95f/iq3BKk6Fbg4k42y/0b1+tMkhkijO9cBiMHsfcGgDE8vxL/AM/Wj/8AgPJ/8VR5fiX/AJ+tH/8AAeT/AOKrWooAwNSj8SeQm650g/vo8Ygk67h/tVoXkfiVGW3+16MRFwcW8vLHr/F+H4VPe8LAf+niL/0MVdvBi7mH/TRv50AYnl+Jf+frR/8AwHk/+KpyHxUgxHfaUoPYQyj/ANnrUAJIUAknoBVu2ttlzH9okiiAcFg7jOM+lAGVNN4phleJLjQSFIGTZuTkd87s1Zvf+Eu1wwaS8+jJaTw+dcSfZpcMFcfux8/cjn2rV1bTZ0uHnhTzIXO4Fe2aXRLgw6rbafNlJGSZ1RuCR8nQenBoAteX4s/5/NC/8Bpf/i6PL8Wf8/mhf+A0v/xdbQ6VUuZHmuBZwMy4w00itgop6Ae5/lQBizN4wml+z2t7ooIfbLMLSQrHxnu/J6DvjNPttP8AEtvGqLd6K+xmZWlhmdgT1wS+a34Io4YhHGCFHqSST3JJ6mn0AYvl+LP+fzQv/AaX/wCLqh5fir/hIx/peibvsZ5+zy4xvH+3XU1n/wDMzD/rxP8A6MFAFXy/Fn/P5oX/AIDS/wDxdHl+LP8An80L/wABpf8A4utqigDF8vxZ/wA/mhf+A0v/AMXR5fiz/n80L/wGl/8Ai62qKAMXy/Fn/P5oX/gNL/8AF0eX4s/5/NC/8Bpf/i62qKAMXy/Fn/P5oX/gNL/8XR5fiz/n80L/AMBpf/i62qKAMXy/Fn/P5oX/AIDS/wDxdHl+LP8An80L/wABpf8A4utqigDnbCPxX5L4vND/ANdL1tpf77f7dWPL8Wf8/mhf+A0v/wAXWlp/+pf/AK7y/wDoxqsUAYvl+LP+fzQv/AaX/wCLqreR+LLdjereaIdqhZFFtLyuev3+2SfeukqG+ha4sbi3UgNLE6AnoCQR/WgDL8vxZ/z+aF/4DS//ABdHl+LP+fzQv/AaX/4utSwYPY27jgGJT+gqagDF8vxZ/wA/mhf+A0v/AMXVbU4fFj2hhN7oYEzLGSLaXIBOMj5+tdHVS7bzLmC2jGWV1lc9lUH+ZIwPx9KAKHl+LP8An80L/wABpf8A4ujy/Fn/AD+aF/4DS/8AxdbVFAHPahH4r+yNm80PGV6W0v8AeH+3Vgx+LM/8fmhf+A0v/wAXWjqP/Hm/+8v/AKEKsnrQBieX4s/5/NC/8Bpf/i6PL8Wf8/mhf+A0v/xdbVFAGL5fiz/n80L/AMBpf/i6PL8Wf8/mhf8AgNL/APF1tUUAYvl+LP8An80L/wABpf8A4ujy/Fn/AD+aF/4DS/8AxdbVFAGL5fiz/n80L/wGl/8Ai6PL8Wf8/mhf+A0v/wAXW1RQBi+X4s/5/NC/8Bpf/i6pXEfir+2rPN5om7ypcf6NLj+H/brp6o3P/Icsv+uM3/stAFPy/Fn/AD+aF/4DS/8AxdHl+LP+fzQv/AaX/wCLraooAxfL8Wf8/mhf+A0v/wAXWbq+keKLn9+t5oayAfNi2l+Yf99V1lFAHnDQa5GAf7R0iVs8qLOXB/N6jmi8TEb/ALZpJGTtzbSjC54x83I7fXiup8Q2JilN1Eo8tz8wHZv/AK9ZscgEYEi71Rt2PQEYJ/VSf93NAGPD/wAJPDKsi3WjZB6G3lwfY/NT7u38SRyBlutH8uQb0P2eXp6fe7dK0CCuM1fsoTc2LxyZVI23o+M/7yj145/CgDn7e08UTEkXejKi/fdoJcKP++qsxf8ACRfZriG3udGVkXeJPs8odgDz/HwMdqvXM/mYjjXy4FPyJ/U+pp+mMFvY1b7r5RvoRigDmbWPxJvuMXWkf63n9xJ/dX/arQSLxPeKQLrRjOi5H+jy5kH/AH11/nU9urJNdIwwyzkEe+1a1vDozqsfsrfyoA5ny/Ev/P1o/wD4Dy//ABVHl+Jf+frR/wDwHk/+KrrfEFh5Mn2qFAIm++B/Cf8A69ZFAGUq+JlYMt5pAI6EQS8f+PVekk8UzW5ljm8PgpgSKLJ8/wC997/9VT0+CRoZRIvbqOxHcUAZLHxQx/4/NHH0t5B/7NQreK1Hy6hpY/7ZS/8Axdbz2hkfzLfAt2BYMxwEHoT6ij7H5SrPO6NATwUbJc+g/wAaAMp4PEU0EdvfahpG5nWWMmCUmM9iTv6H09KYtr4ot2eSabRgY2wFa3lwzf8AfXI71pO0l1dfKuXchVX9AKvXUtvOBYs4zCoWKYnjd3B9j60AcjqC+JmtLlpLvSGzG5Y+RJk8H/ap8UfiXyk/0rR/uj/l3k9P96tPVI3itLqORSrCJ8g/Q1LZxvMIo4xlmAx+VAGdbWviWVmLXmjJGgy7m3l49vvdTVYN4muLu4k+1aQoRhEifZ5NqqBkY+br8xya6O8kQKttC2Yk+8R0d+7f4VR8OIt1JcLLIB5U8jXGeCq7jt491Ax60AZmrw+Irfw3qFzPcaO3mWc4RPs8mdvltlh835VzXy+9dr4snNxo+qyYwv2KYIv91RG2BXFUAer+Bv8Ajw1T/sOaj/6VSVs3UzxhFij8ySQ7VBOAOM5PtWN4G/48NU/7Dmo/+lUlb9ADIVdIgskhkbu2MZpLqFbi2khbo6kVJRQBxr23kti5cIR/AvzN/wDW/GmPNlDHGvlxnqAeT9T3rR8S23lXazqPllHP+8KyqACngb1GMbgMY9aZRQBrWE+k28KtLE7z4+bcucH27VM+rTTNJNFmOCEcDuzHgZ/nj2rFEh6N8w4znrj29KmuGRVS3h3FAdxY/wAZPf6UAZeiEtpNszHJKZJ/GrlUtD/5BFr/ANc6u0AFFFFAE1jGslyvmf6tQXf/AHVGT/Ki9ZnuGZiCzfO2OmWGcD6DA/Cn6dH5sk0YYKWt5VDE8DKnmorsYuGxnBwwB7ZGcfrQBHU6TtDEsfEiMCWjbp/9Y8dfeoB1xTpD859BwPwoAlkhVkMtuSyD7yn7yf4j3qCmuu5GUO6bgRuRirD6EcionkeFsykNDgDdjlMevqPfr6560AStbtcyQRLx+/jJPoA4rY1mxgt7syvcbUky2wDLZ74/+vWXdzyWemwzQ7VkkuUwxGflDL0/E0+6uJrmUyTOWb9B9KAHNcbflt08lfUHLH6n/CoKKKAJBPN5Pkea/lZ+7niqttc6TqF55moXMipbM0DSSvLbFcfe2M23coxyVyMdetLd3C2tnNdNC8wiTdsTqeRnHB6Ak/hXP3dxY6nc2NvfaFK1xAZHkjVsouW2yAtt6Eq2G7gD+9wAddootZdTt4fC17ef2ajSi8fezwgqSu2MuD828H7vGAa6y2git4vLiXAzkknJY9ySeprnfBesQ326zs9Du9Pt4zK7NONvzGQ9sckkkn0966agAooooA5yD/hKrXU2uNQntbjTULEx20JMzAjCgD1yQT7A1gal8QtJ0/xVeRXVjqXmWqSQYit2lDhHBZ8qCBx0B5PavQqzGjjbxJho0INk2QVHPzgfyoAwJ/iV4Zhill26pKsSK7eTYvJ97oBtyCccnGcAGtLR/F2l6pqcOn28GopNNE0yebaMq7Fxnc3RTzwDzW3bWttbW629tbwwwou1Y44wqgegA4xUm1QQdoBHTjpQAtFNmjWWJ4mztdSpwcHn0qDTpmkt9kjZnhPly8YOR3x7jn8aALPfHeiqd5H5moWTKdrIzuWBwWUKRt9xlgefTPXFXKAKs07rqltbj7kkMrt9VKY/9CNWqqXG1tTtVUZkjV2Y/wB1CMfqwH/fJq3QAUU1ZEaV4lYF0ALD0z0/kadQBX0//Uv/ANd5f/RjVYqvp/8AqX/67y/+jGqxQAUyeZIIXmkOFQbjT6p3WJdQt7ZmwoUz7cffKkDH0BYH8qAJrFGisYI3zuWNVOfUCpqKKACqb861FszkQN5uM4AyNue397H41LfyvBZTTRgF0Qlc9M9s0+2gS3TauSx5Ziclj7n/ADgcUASUUUUAV9R/483/AN5f/QhVk9araj/x5v8A7y/+hCrJ60AJRRRQAUUUUAFFFBzg4OD60AQX8zQWxdNvmFlVA3QksAB+tT1m3UbW91ZzyzySRiTZJuA5dgFRsdh1HH97NaVABVG5/wCQ5Zf9cZv/AGWr1Ubn/kOWX/XGb/2WgC9RRRQAjhipCttbHBxnFJECI1BfzDjluOffinVDGVS5ljBwu1XxjAXOR/SgCSWNZYmjcAqwwRXK3r/ZHezt1aPbw7n7z/4D2rrKxfE1ruiW7RfmX5Xx6djQBk222TmVSwU/Mo43Z6HjvkDn0J9qa13K0ySrhPLP7tF+6o9KjhkMUgbaGwQcHODg5/pU+oFXk81VVA4VgFXAGQcr+HHP+0O+aAGXkarIJI/9VKNye3qPwNQAkEEdR0qxaYmRrVurcxn0f0/Hp+VVzwcHg0ALcYa+uplHyyyCT8Si5/XNWNLuBa30czfdBw30NQWR860u48fPBOXX12lVyPwPNNoA6jXpPLskmXDDzACOzKQciuduolXbLFkwyfdJ7Hup9xSyXc8lqlsz5iQ5ApLSUo5QoZI34ZB39x70AQ0AEkAAknoBV6XS7hXONqxYyryMFBH496WRIrGJHSQTTyDKuv3EHTI9TQAqeTZo1vOvnyORuj3YVD7kd6n1mGEXQjlDwDaPKcfMhHpjt+FVNGg+0ajGrDcqne34f/Xrf1fT/t0abZNjpnGRwaAMezgW3jmcyo05jbyfLbdjA5NZdWLE+VqEW/gB9rfToailRo5XjYYZWKn8KAC7mjl0u4huiflhby5MZK8Hg+o/lVhv9CtVt1IM0kamRx0CkcKD/M1nX/8Ax4XH/XJ/5Gr1huuIY7NozI/l7o8EAqccDkjg+n40AVmZVGWYKPeodZvBBJbi3tJvLgbFxIyqNwOAWznOF9PrVuB2t0GAhuC255Bzt/2VPYcDOOtT3MUN9bvIkal9p8+HHDDuQPT1FAGD4juraPRdSheZFk+xTfLnnmNsVy1ddriqmgapsULmzmJwOv7s1yNAHq/gb/jw1T/sOaj/AOlUlb9YHgb/AI8NU/7Dmo/+lUlb9ABRRRQBR123NxpzhRlk+cfh1/SuUrua47Urf7LeyQ44Byv0PSgCvRRRQAU9fnUL/EvT3FMpYyRIpHBBFAFHQ/8AkEWv/XOrtVNHAXTIFHQLx+Zq3QAUUUUAW7MbbS5k65KRgf3suCw+m0GqsjNJI0jcliSa09LcLo98MgNxjPfI/wD11l0AOj+XL+nT602ny/LiP+71+vemUAFA60UUAVNdR7WNLeMvJbxzIApPzJ8wzt9s9B71aMltuC/aolLZ2h1ZM/8AfQFN1ZTPp8cirl45YlfHcbhg/wBPyp9AB2B4IIyCDkEetJPmODzGZYwfus/Qn2HU/hTEWSM4hmMaf3ditt5ydpI4z/8AqweaURqJDIcvIerudzfmaAKVxBNIySLfXDzxkmNIYmiizjH7zd94fTNbXw9mihlu7G4ZE1J9szjp5i85K/3lBz9AQDVWq97A8ypJbymC7hO+3nUcxt/UHoR0IoA9BorL8N6xDq9gr5RLuP5LqDPzROOox6HqD3BFalABRRRQAVn/APMzD/rxP/owVoVn/wDMzD/rxP8A6MFAFnUm26dcnJB8l8H0ODipLdWS3iR/vqihue4HNV9WbFi8SgtJMREijuT/AEAyT7A1cPWgBKp337i4hvFXuIZMDkqzAD8mI/M1crP1PfczxWdvsLq4klLDIjA+6T6nOCB7ZoAlTEuryN82LeIJjtufk/oB+dW6jt4I7ePZGDycsx5LHuSe5qSgCnYqRe37NgsZVwe+3y1wPpnd+tXKpQ/8h24CuTm2jLLj7pDPg59+fyqxcXNvbKWuJ44gOu5gKAK2n/vL6+ulPyM6wge8eQx/MkfhV6q2mK4s1eSMxvIzSMpHKliTg+/NWaAK+n/6l/8ArvL/AOjGqxVfT/8AUv8A9d5f/RjVYoAKpXcgh1Oydhnzd8A45BI3Z/8AHP5VcZgqlj0Ayaq2ERdUvLhi88igjIwIwR91R/M9T+lAFuiisvxLcXENikNqxjluZBF5o6RKerE9vr70AWLn/Sb2O1VgUi/ezjGcn+FT+PP4D1q5Udrbw2sKwwoFUfmT6k9z7mpKACqcFwJtRkVJAY402gD+Js/Mfw4H1z71Hq90yGO0h3ebN/cxux6D0JweewBPao7Gz1GDzH3WCs2FRVjYiNB0XOee5zxkmgC5qP8Ax5v/ALy/+hCrJ61W1D/jzb6p/wChCpLueO2haaTO0EAAdWJOAB6kk4oAkoqiV1aRgwltLdD/AAGNnYfU5A/Snebd2x/0lftER/5aQxncv1Tkn6j8qAKfiM+JA1sfD62LAB/PW5OMn5doH/j2fwqnbTeMiDbXFtpqzG3DLcJuMYk3KCpGc9N3T9K3Le9tbhykU6GQdUJww+qnkVYoA5zSJvGwntY9VstGMPAuJoZmDe5Ven+fxro6KKAKmsLI2l3AhUvJtyqgZJIIP9Knt54biISwyLIh7jsfQ+hqSql1Ekd5b3Ea7JHk2OV/jUqevr0HNAFuqNz/AMhyy/64zf8AstXqo3P/ACHLL/rjN/7LQBeooooAKbMFaF1fO0qQeM8U6o7gO0REYy2RjnFADbNnMKLLuEmDwwAbGcAnHtinzxrNC8TfddSppsKyGQyyIiHG0AHJxk9fwx+tS0AclJ5FncMgiM0qEgmUYXP+73qK5kaf96VUeu3seM8du2P/AK1WNbjZtXmVFLEkHAGe1QtbzRQFpyIkHO0kbj05A6nGOnue9AFYEggjgjpVi+xIVukGFl+8PR+4/r+NJbGx8sNPJMXOcRKm0kDvk9un0zzVj7fFFGY7WzjVScnzTvOfXnigCloazfbZpIoHlAnIYAcEbVyKuT6d5MrCS6gjQMQMtliPoKg+03M1vJL57BfPKOqnaAdq44HqP5VXoAvIumJIqs88+WAJwEUD19amvb6a3lltbeKK2CkrlBhseuay61oFWbUbCd0DLKuGB5BZQR/hQBlyO8jbpHZ29WOasH95pqkdYZCD/ut/9cVLrNmltcFoXVomYjCnOw/3TUWn/NI9v2mQqPr1H6igC54XP+nv7xn+YrpR1rn/AAwI0FxcSMq4wuScYHU0t5rzEvHbwjbyA7Hn64oAx5ji4kZTkByQfxqbVMfbpHX7smHH0IzVart5D5umw3CyBJXQwx5xjeAxyc9AAM/40AZd+jyWU8cYYs0bAYGcDByfy/pV7TZE0+3ghgleVhsMs7tuZsds9T7nvVbUXSPS54Yef3DB5T96T5fXqB7UkX+pT/dH8qALN/H5V7NH2DnH07VHDI8MqyxnDKcg1Y1H5mgm/wCekKk/UcH+VVaAG+KYlm8MavfWygIljO00fdP3bZI9RXC4rq/FF09p4W1dkwfMsZoSD0O9Coz9CQa5Tj3oA9W8Df8AHhqn/Yc1H/0qkrfrA8Df8eGqf9hzUf8A0qkrfoAKKKKACsjxHZtNHHPGoLKdrcgcetXUaRtWmTefLSBCE7ZZm5/8dqW7hFxayQn+NSPx7UAcli2iHzZnfuFOFH49TQVtZBuWVoT3VwWH4EVAylWKtwQcGigCby4M83PHtGaesdlkbrmY89oh/jVagdRQBBpixDRbFomdsxYO5cdDU9P8J2DXvhqNo2/eRgbFPQ+tEsMsLbZY3Q/7QxQAyioDZrJKWieaOQnJMbkfmDx+lSxxy28O+4kSdM48xTjZ6bx/UcfSgC9ZwtLbnDFDuYrk4DkRtx78En8KrBhH9w5f+96fT/Gr43W9sd68iUFXLAKcZVgo645IzgVmDpQBcvwJoo71QB5h2ygDo47/AIjmqlbPhlGkaZXVWhwDhhkbv/1VL4ka1SBYlSPz8jG0DKigDBooooAraizJAjIxVvOj5BwfvCr9xh1WZVC5+VgBgBh/iP61nap/x7J/12j/APQhWjbfOWgOPn+77MOn+H40AQ0UUUAFFFFAEVqgHijR2hKxXDzsGkC8tGI2LIfUHj6de1d9Xn0l1Hp2q6bqc4/cQT7JTjOxZBs3ewBIz7Zro9Q8U2VveNa2tvcahJHjzWtyuxMjIBYkAnHYZoA3qKytN8Q6VfIMXAgm3bGgn+SRW44I/Ecjjmue+JPjafw9c2Oi6HZQ6nr1+xEdu8m1YUA5kfHQflUTmoR5pHRhcNUxVVUqSu38ttW23oklq29jr7m8tLYgXN1BCSMgSSBcj8awbbxFod14nK2uqW1y62ZUpC+9t3mDgAd/avM18D3WtyPqfjHW9RutTlYkra3bJDCnaNR6flVf4ceGLCX4wzf2LbzadZaDH/pLNcM73UzYK8MThec+/PrXO69Tmj7ujffX+vmexDK8E6VV+3vKEb6R92+1rtpu7aSaj57ant9pFMxFzd/64j5Yx0iHoPU46n+lWqKK6z58KqaWWaKaRlA33EhU/wB5dxAP5Cpru4hs7WW6uH2RRKWdvQCvLtJ+M/h2KyT7bpusxQhmAuxaFopBuPz5HTPP0rOpVhTtzux2YXL8VjE3h6blbeyvvt+R6sSACScAdSa5SX4ieDv7VGkWuv2FzqLuI0iSTKlyQAC/3e/rXH6944j8d6jaeGPB+ozQadMC+sakilWig/55oezNyPWs74keFfA/h/wrpbaBpcEN5Dq1oq3YDGYAyjczOfvfj61zVMTKzlSs0t3/AJHtYPJaKnGjjnKNSfwxSV12c76pN7JK7Wva/r1pp7KZZL2f7VLNw/ybUwOgC89Md89T61ZhtreFi0NvFGx6lUANTyffb6mm12nzIUUUUAV9P/1L/wDXeX/0Y1WKr6f/AKl/+u8v/oxqdeTNDEPLUPK7BI1PQsfX2HJP0oAr6kxuJU01VJ8wB5j2EQYZH1bp+dXqgtbcxySTSuJJpMbmAwAB0UDJwOv4k1PQAVFd20F3CYbiNZEOeCM44xke/NS1WsrgzT3kR6wTbPwKqR/OgBulSH7MbeRmM1ufLk3EZ9QePUEGrTMqqWZgqgZJJwAKrXNs3m/arXalzjBz92Uf3W/oe36VVlmkvLoaXND5JK+ZN82Q8YPRTxnJ6+gz6igBLFjNetdpbHfLIR5zxEbYQMKFPfJ5/GtKZmVRtzuYgDAzj3qrbyFpJZmcIHcw26E4U7e4+pz+AFJZfaQJUmuVaRVGPlyq8dzxnoe/T60AS6gWFtLuA2ApjB5+8M02xQzxx3k+5pJFDKpPyoOSMDscHr1qnfM99YlI5N1p8oeYcGb5hwv+z6n8B61rhQoCqAAOAB2FABUd28sdpNJDH5kqxsyJ/eYDgVJRQB5pPr+nSSfar6/cyQzmFGdchXyCdgBJXlh6HA9q6vwfrVvfxzWYvPtFxDI/UHIXg4J9Ru/lXPa3b+RrN7bQaRbvGLjzgXwAQyKcj33Bx+Q7Vr+B7GMT3V+YY4pi2x/KXCMxC5Oc5JwFB7UAdVRRRQAVX1BHa1LRIXkjIkRRwSVOcD6jI/GrFFADIJY5oUmibcjqGU+xqpc/8hyy/wCuM3/stFpJ9muBYShVLF3gYHh1yTj6jPT0FFz/AMhyy/64zf8AstAF6iiigAooooAKKKKAOa1+aaPU5FSV1UquQrEDpWX3rT8SjGp59Y1rMoAftAhLlhkkADHbnP06D/IFMoVWLHB+XHIOeCPT9f096KAH6FG09xeWw6SO2M9iEUg/59aYeDg9aXRWZZ7+RSQV3kH0O1RU18v70TKAEmG8Y7HuPzzQBBWjpMo2KG/5YTLKPXBOG/pWdVrSiPtgjb7soMZ9ien64oASbTp7O41FniKwmTcsmABIWcsMe4DEGqykqQykgjoR2q7qWoT3YSOVQnl8EDufWqVAFi7XzI1ulAw5xIB2f/6/X86r1PZupLW8jBY5eMn+Fux/z60z7PP5jRiFyynBAUnBoAjqyQJdKAYBjBPuXP8ADuUjP9PxpPsV1jLQMg9Xwv8AOpYYGW3uUZ4smMMFDgnKnPb2zQBl3/8Ax4XH/XJ/5GpbdWaONVBJIAAHemXiNJZzoilmMT4A/wB01cheO1hQRMHn2jMg6Jx/D7+/5UAWLmErpaBmVpIZSrAHO0MM4/MGqFWrP57a7iJOSgkH1U/4E1VoAyPGgjbwjqyyIHDWcoCk4y204/XBrm93v+ldZ4sgVfCt1PI33opRGuM5xG2Sfb+tcjQB6v4G/wCPDVP+w5qP/pVJW/WB4G/48NU/7Dmo/wDpVJW/QAUEgAliABySe1FZOrX8DXaaWJJCzAtN5akkKP4cjoW/lmgC3po8xGvm5a5AYeyfwj8iT9Sat1U0+6kuGdTYXFrGgAUzALu9gB2FW6AOY8R2/k3/AJijCyjd+Pes2uq163E2nO23Lx/OvH5/pXK0AFKoPBwcZ64oUgMCwyAeR61oXuqNcQC2igSGHI+UUAUPBN41tp9vHnCyxbc+jc4NDtJvbezb8/Nk85qhof8AyCLX/rnWnc/MI5u7j5v94df6H8aAIizMMMzEe5qzpOf7RhAx8zbcHocjofaqtOido5UkXqrBhQAs3SJQGCLEoUMMEcZOR65zn3plXdQa3aITSTLEnOyU/cJLEhG/utz9CPSodPjWW7jVvuA7m+g5P8qAOh0BFisdnAbO5+e5Gf5YrF1u5jub4tEq7VG0MB973qrLM8k0ku4guTnB7elR0AFFFFAFTVP+PZP+u0f/AKEKuKxVgw6g5FU9U/49k/67R/8AoQq3QBJcgCdtowp+ZR7HkVHUsvzQRPznBQn6dP0P6VFQAUUUUAIQGBVgCDwQe9R28EFvH5dvDHCmc7UUKM/QVJU0VrcTf6qCR/otAGfdWSzF3jlkikZccHKk4x8y9DXIfC21jlm1PVNSlln8RLcPa3pl/wCWIVjtVP8AZIwc969DfT79VLfY5TgZxiuF+FsUl3pt34oumX7VrU5leNOFiVMoq/XA5Nc1VXrQ+f8Aw/r/AJs9rAy5MuxL2vyK/Vttvl/wtJt+cYnYjk4ritVtfEvhX4g3+t+F2S/F7bq19YsACxTC5QnrggccZ5rtQcEEdRVe9BbxSJlU7ZbMuPxcZH51rUpqaWtmjhwWNlhJStFSjJWaezV07d1qk00010Z0HgXxZp3izRob+03QysP3lvIMMjDhh74II9u9dDXjOoeD7iO8ub7w54gvtGuZ3d2jU74A7fedUyNrH1Bq1NpvjrW1h07WfGiwWYzGx022MM0oYY+ZiT/I1kqlRK0oXfla35nbUwWCqTdSjiFGD6SUuZeWkWnbvfXyI/iHr9z4y8QjwX4fvDDp0SGTVbyMZO3sinpk84/OugsLS3sNPgsLWMR20EYjjTsFA4qn4b0jT9E0uOx0+18hU4lyBvaQcMWP8RyDzWnV0qbTc57v8PIxx2MpzhHD4dWpx77yfWT8+iV3yrTu2yOKKLPlxom45O1QMn8KpeItJttc0S60m7yIrhNu4dUPUMPcEA1oUVpKKknF7HDTrVKVRVYO0k00/NbEHwi8YRahoo0DXLxIfEOkj7PdRzkI0qrwsi5+8CMZPr9aXxd47vBra+HfBkenalqKxedd3E8xNvarnADbOSx9B0qpqWg6Jqc4uNS0ewvJlG0ST26uwHpkiptM03TtMiaHTbC1s42OSsESoCffFYKnV5VDm079f68z154zL/ayxCpNyeqi7cib32d2l0jZdE20tYk8deNbdR9t8Bw3GwfO9nqancO5VWGc+xrq/BXizR/Fuli90yVkkDMk1rNhZ4HU4KuueP5Vl28arGbiUZVThV/vt/gO9c14m8N2mpC4vrFE03Wj+8hv7VBHKrjoCw5K9iPSm41YaxfN5O34WX5mca+BxXuVKapO696PM1580ZSennG1uzPTrAgW8hJAAmlJJ7fO1R25+2Xcd4q4hjR1iJHLliMsPQfLgeuT268Z8MfFM/i7w59kv4Ra6rFcyw6lEONpB3EgdRu3AD8a76SRIo2kkYIijLE9AK1hNTipR2Z5+Kw1TC1pUaqtKLs/67dn1HUVV0zzGthcTeYJJv3hR+qA9Fx2wMfjmrVWc5HceY0bRwzJFMRlSy7se+3IyKylmvrPUbqWTT2lilClnt+csBjdg+2BwT933q7qDNC8d20UcscRG4bMvGD1YH+Y9KZZn7JJHamd5oJFLQSyOWbPUqWP3uuR7A+lAD9L1K11GESQNIjc5imjaORcHByrAH8elVvFO1dJaYrIXjYFTGdrjnnae2Rx+NXb+EywiSMAzw5eE/7WOn0PQ1XSdL29tdrDyhD9oUDqzZ28/TJ49celAHn8EwhEavJr8sG3yoIBDtVVAzj5TzwfvYB5rtPDy/btLX7RJcPHHIY/LdAgfbwCw5J98nnuO1buT60lAFfUOLJgBgApj/voU66uoLdSzyL3wARnjr9Pqao+LPtK6DcS2cby3MZR4o1fb5jBh8pODwfpWZq3gTQNU8v7Yl0XS4FwzRzFDK3m+bh8feUt1HegDUXVv34V7crGQCDu+fnplccfn6etaMUiSxLLGwdGGVYd65fUPh/4dvtS/tC4W+87bCuFumVcRABRj/gK59cCrdno8Ph6W6utNadobmRXmhklZkQhFUbB0UYUZx3JPc0AHjCAqLe/VRsjzHMwHIU4wT7Aj8NxNWvCsDQ6Ort1ndpumMAnj9AD+NXiIr6yZMsI5kKtg4IzwR7GiwdpLKFnwX2ANgY5HB/WgCeiiigAooooAgv4WntysbbZUIeNvRh0z7HofYmsx9Qt38Q2MMmYJykyeU45z8vQ9CD2Pf68VtVn3qJLrFnHIquhhlyrDIPKUAaFFVUsY11Fr4T3RZlC+UZiYgB6J0B96dp2fsgJdnzJIQWOTje2P0xQBYoopJHSONpJGVEUEszHAA9SaAFoqo+p6bGyq+oWilk3rmZRleOevTkfmKmiurWYL5NzBJu+7skBz9MUAYPikf6bE3rH/U1k1s+K/wDX25/2D/OsagBrzGExrgESuI+fcE/0p1J83mpsXc2TnjgLtOTS0AGl/wCq1M/7QH/oFWrZGubVoVKh4j5iljgbf4ufyNVNPOLbUPe4Uf8AjoP9KltpfJnWTqM4YeoPUflQA/7PGPvXkA9huP8ASlVbRCGM8zEHPyxgfzNRXEfkzvF12sQD6jtTKANC/azW4Mn2eV/NAkBMmAc/h65qt9ojH3LSAD/ayx/U05z5mmxt3hcp/wABPI/XNVqAJ/tk4+4Uj/3I1H9Kuagt41st757+U6oAAx6454+orMropbqystDtY7+YRR3AESsRxuYEigDnTyeefrVnTMfbY0bpJmM/8CGP61WIIODwR1pUYo6upwVIINAC6pKsWnXUFvkDynDyH7z8H8h7VFD/AKlP90fyqTxCu37dgYBR2GPdc/1qOH/VJ/uj+VAF3SGC6hErcq+UP0IxVZ1KOyN1UkGkVirBhwQcitC4hWbXFQD5ZnV/wIyf60AZvjqKP/hGZ7SRc7NNlZh/tFWYfqK4Su58Y3Dz6XrDb22fZZwozwBsauGoA9X8Df8AHhqn/Yc1H/0qkrfrmvBVuJLPVW864XOuajwshA/4+pO1bhteDi4uiccDzjQA25kknn+yW8hTbgzyL1QdlH+0f0H1FWLeGO3iEUKBEHYfzPqaoaVZgWSlri7EhZjLmXnfk7unHXI+gFWvsg/5+Lr/AL/GgCxRVf7IP+fi6/7/ABo+yD/n4uv+/wAaALBAYFSMgjBFcZfwfZryWHsrcfTtXV/ZB/z8XX/f41h+KNNAEd0s9z/cb96fw/rQBlUDqKg+zD/nvc/9/DQLYZH7+5/7+GgCHQ/+QRa/9c604R5kMkfG5fnX8Oo/Ln8KyNFsn/sO1mMl0EK4B8w4zVyKHy5FkE9zlTn/AFpoAlp8Ue4b3O2MHlsfoPU0Pp0cbmSS5ufIzlMSnLjsB/U1BLF5hH764VR91RKcAUAT3bGe2gjWESW8V3HLNbqRuljUNnGfvHdtOO4B+lSx3ENvaXFwyXMPmMIIzND5Yyx+vH44qh9mH/Pe5/7+GrF7Zp/Z9vbvNcMHDSMpkOCCcD9B+tADRyOKWs3+zDbgGxuJ0GctCZTsb1+h9/zozcAjda6iB/EROhx/49k0AaVFU7ZYriMvHcXeASpDOVIPoQal+zD/AJ73P/fw0AR6p/x7J/12j/8AQhVuo59Dubi2R/Mnjj86P55JCB94c1s6VoNvJILl57uSEf6rdIR5h/vY9PT16+lAFK3V5rWWJFLMpDgAZPof5ipItLv5Oluy+7/LXSJZRoNqTXCj0EpFL9kH/Pxdf9/jQBjQaDO3+umRB6L8xq9Dodmn3/Ml+rYH6Vb+yD/n4uv+/wAaPsg/5+Lr/v8AGgB0Npawj93bxr77eamqv9kH/Pxdf9/jVWW1v1l3Rzb4hn5TO6ufx6UAaWM8dc1458K8r4OjgbAeC7uomX+6RO/B/MV0PxL8Q32laXBpWl/bbfxBq0nkWKvOHEa/xzHBIwo9e5FUfD+g2ui6XHYWs90VUlndpSWkdjlnPuTzXPfmr6dE7/O3+R7HL7HK2p71JRcV5QUk36XlZd2n2Neqcc00XiEeXK6D7GfunH8YqX7MP+e9z/38NUDbj/hIVHn3H/Hmf+Wh/viug8c3xI1xE8cvzyKC6NjnjqCe/H8qgRSTuB2gfxelRW0AS4RvtFzwef3p6d6VYkWdGEtyY0cEL5p5GaAL2ookN3LtjGN/Q8DJVScDtyTVZtrLuUYx94f1qS+s1eHet1dOVJfeZT86O7EH6gggj2HY1SSAK2fPuSO48w8igCaioXtQrEfaLg+h8w9KT7MP+e9z/wB/DQBPUsESlfNmJWIHt1Y+g/zxUMViioJp57kIfuqJTl/8B70yWIyMC1xcAAYVRIcKPQUATzytK4YgKAMKo6KPQUyoPsw/573P/fw0yeJYYZJmnuSqKWIEh6AZoGk27IwvCsctv8YfK08Li/tGuL4Z27PKmZUbjqWDMuPx7V6kG+3zoy4NpE24N/z1cdMf7I9e5+nPnHwj0eOXwq3i2aaZtX8RyMFcO37qIuQsY9gAWP8A9avSo7SFIgsdzcCOMBQBNwoHb2rnw2sObvr9/wDVz1s6ajiFRvd04qDfdx0fyXwrukmW6KpxRwSl1ivp5ChwwW4ztPoak+yD/n4uv+/xroPIKuqeZDdJdKyQgLt87nAOeBIO6H16g/WoMx4a3kRo4WcCSI/etpCflZT/AHSeh7H8QJ7+3KKrLePt5Dxyz4Dg+/Y/pWHLEJE8tr0wRgbU33DSOsZ6owXgjjIO7j6igDoWuLu0BN3Gk0QwPNi4PXAyp/mD+AqHSbYPINTZwTMpaKNGysavgnnuTgH064rn7nUoZIYbOa8lu4nliSSdWYKQGydwIwc4IwD1NdLbC1uAPJvp29hOc/lQBeoqv9kH/Pxdf9/jR9kH/Pxdf9/jQAaj/wAeb/7y/wDoQqyetZ2oWo+yN/pF195f+Wx/vCrBtBn/AI+Lr/v8aALFFV/sg/5+Lr/v8aPsg/5+Lr/v8aAK0sMljIZ7Vd0J+/H6D2/zx9OluzeGSANb/cJJx6EnJz+dN+yD/n4uv+/xqlJpDRyNLZ3lzEzDBUynHX/PY/hQBq0VgXV79hDrdtdvImMrDI7MR2wAD/MU+HVNLlKquoXPmMMrF9oy5H+7nPr+VAG5RVKBbebHl3tyT/dMxDD8DzUv2Qf8/F1/3+NAFiqNz/yHLL/rjN/7LU32Qf8APxdf9/jVG4tR/bdkPtF1/qZf+Wp/2aANaq+m/wDHki/3Cyf98sR/Sj7Iv/Pxdf8Af41W0y1/0Yo090HSR1b98eTuPP45B/GgDRrN8TS3EeiXH2bTH1N3Ux/Zkk2FwRg/N2q19kH/AD8XX/f40fZB/wA/F1/3+NAHntrpd3Z3jTN4FS6lkjxK32pyMmOMsCzs24Erjp/Dz1p+n2LRahFqFv8ADu4tbtHEm5r37nzcgAHBPzNgdOvtnv8A7IP+fi6/7/Gj7IP+fi6/7/GgDL8Vr8ts3+8P5VhVs+KbQfZoW+0XPDnrKfSuf+zD/n4uf+/poAsoxUHAHKtnJ7cD/wBmH5U2o/sqojB5LsOVGwmQgbScn/0FaZ9mH/Pe5/7+GgCxacWF1/tXv8ox/jSVDFbAWjL59x81w7f60/3UFJ9mH/Pe5/7+GgC9c/vIIZv4seW/1HT9P5VBS2lsHjlt/PuTvXcv70/eXn+War/Zh/z8XP8A38NAGhYYkWe3P/LSMlf95eR/Wq1R28Xkzxyie5+Vgf8AWmnXliIbqSPz7nAb5f3h5Hb9KAHVt65b295oNmJLjyo0ZH4XcXAUgqPQ89e2K537MP8Anvc/9/DVhLfdpsim4uSEkUr+9PGQc/0oAJG3yM+MbmJx9aSoPsw/573P/fw0fZh/z3uf+/hoAs68M6b53Z7Qj8VBH9Kih/1Sf7o/lTdStw3h+Q+fc5iEi/609Cuf6GoorYeUn7+4+6P+Wh9KALVai31wmnQzQsu6ImJ8oDj0OevTisT7MP8Anvc/9/DVzS7ZJJXtXuLjbOu0fvTww5X9aAMzX/8AkAan/wBeU3/otq5Cup1+226FqeZrjIs5sgyH/nm1ctQB6v4G/wCPDVP+w5qP/pVJWtqFwIra4VHAmWBpFB9h1/OsnwN/x4ap/wBhzUf/AEqkrR1GOG4urOFkV5UlEo/2FHUn2PA+v0oAtwRiGFI85IHJ7se5PuTzT6KKACiiigArP1WJ7i4t7fJ8uRJd49wBtP51oVXuSBeWnI3FnGO+NuSf0H50AceEcv5YUls4xjmpgY4SoULJJ/ETyq+w9frV7X1NtdMsShEmG5mHVvUfSsodRQBF4aZptKghdi2+HC55wRkj/D8aupGsMQmmX5jjy4z39z7fzrL0FiulWjKcEICD+NXZHaRy7sWYnJJ70AK7tI2WJJ6D2HpTajniWaPy2Z1Gc5Vip/MVXtLJ7cxAXlxIkaBAjtkEAYoAuAFiFHUnAq1q7br91GNsYEYx7DFN08D7Usrfci/eN+HT9cVGkc1zMfLjZ3Y5IUZoAjoUFmCqCSegArYs9ClfDXUgjH91eT/9atq0s7e1XEMYU92PJP40AcoNKktnGoXbtb2rMqzjbkkEYDeo5wPpWqzwRw7NAt7LUroAt884CqPdwDjPYVuMqspVlDKeCCMg1DaWlvZwtFZ28cSli2xeAWNAHMHUNYvriTStQtbQGOaBriS1fdHEGOfJJY5LcDkDGDyBxnrq53RPn8NW903Mt1dLPMcAZkMnzYx2GMD2AroqACiiigAoorgvir4jvoHtfCfh2cx61qQ3STKMmzts4eX2PZfes6lRU48zOvBYSeLrKlF26tvZJatvySOj13xZ4Z0IyLq+vafaSRqWaN5h5mP90c59sVwupfFDxBfT+T4N8EX1+hPy3N8DbxkeuDjj0yRS6F4R8P6XEBDp8Ekmd0l1coJZnbuxZuST7VvPKdnlplU7+p+tZOFaa1ly+n+b/wAj0IYnLcLL93SdV95uy/8AAYu/3yOR0lNeutfl8W+L7K2jvmAtYbWOctFZQcZZSCQSzdea61Wi3ZMPy9wHNRsqspVgCpGCD0IqtYho7n7C2dvWBmPBXHK59v5VrSpqnGyPPxuMnjKvtJJLRJJbJLZLfT5+b1L9xDsO6Ml4T918fofQ1ln/AJGJf+vM/wDoYrWaYRo0MJ3Rn75I++f6Cs6KNJvE0aKxQtaEc8j745rQ5C5FwS5GQv8APtT42tzhZInX/aR/6GmSlclUOUB4Pr702gC9OIls08qZpE2Oo3LtO7ehxj6ZqjVi1RJ1WJzjY+4H0DDaT+HB+maHWzjON08pB5GAo/rQBCfmiz3Xj8KlVVgQPIoaU/dRhwB6n/CnQTRRzq8UOMA/fbd2/CmG6YtuEUCtnJOzJ/XNAETuztuZix9SacsEzfdhkb6KalN7ddpiv+6AP5VBNcOqNJLM+0cksxNAEws7k9Yiv+8Qv86ms7B5buKOTyCrOAymRTkZ5GB7VRrC8U6trGnX+i2ehy21td6hdmEXFxF5iRgIWxt7k4xUVJqEeZnTg8LPFVlSg0m76vZJJtv5JepY+CqWf/CNapp+oCJYrDWLu3hgcjbGu/OAPbP5V2l3e6QhDRWsU0ij5cR4A/GuD8HaZd6fHqlxqF7HeXmoahLdTvHF5aBj8vyrk4+7mt6s8NGUaUYyWx151Wp18fVq0pXUne+u733s977o021u6ACwxQQoOiqvFU5L28fcGuZSG6jecVBRW55YE55Y/iarxgz7pJADCwKoh6MpH3iP5fn3p94jSWk0aEhmQgEeuKfG4kjWRRgMAQPT2oAJFWRCkihlPYjikgRogR5jt8xIJPIz2zSTzJCgZ9xyQoCjJJ9KgaS6mwsMLW6k8ySYJA9lz1PvQBr22qXsBOJjIDjiT5h+FbenatFcRsZwIWXGTn5eelcfb20kUm9r25mHPyybMfoorQt/mtLlR1+VseoBOf5igDqb5layZlYMCVwQcj7wq0etcJJdXFtbsYZCoyuV7H5h2rrNL1KO9Uq2EmHVfX3FAF6iiigAqtfXLQgRQp5ty/8Aq4//AGY+gH/1qs0e9AFNbVojGftW1yxZn2gGVz/T29hzxUE8cGq6RcqbXazhxhkG7cOjD3zjBq0toGH79i7eZ5gIJAU+3t/9erI46cUAZVrb2t5bneVUGHaVQbTsIGGPv7/WnOLgSk2MryLDEsexjweffq3HU+uMilu7KEyRwRyyxK7FmQHcmOSeD05z09amNnKwyNSvAWHJUpg/QFSB+H/16AFsLxbjdG2BMpOQARnHf2+nb361T1G8ij120jjzPOIJcRR8tn5cZ/uj3NQ3uj2rvIqbpGCiRtxJPy8quc9OuB+ByCantzE2o6e0MSRBoZtyooUA5XPAoAnjvposrqNt5DnlPKLSq/qMgdfal0u4SSe8h2yI6Tb9siFSVYAggHqOo+oNXqrXMU5uUuLfyiyoUIkyOCQc5H06fyoAs0VVWa4ju44ZxGyyg7WjBGCOcEHPGO9WqACioPtlr9t+w+cv2nbu8vvip6AMrxQM6eh9JR/I1iBVtow8ihpz0jYZCj1I9faui112j05pFALKy4yM4OetclNJtVpJGz3JPJJ/xoAksma8juSZkM6XJVkaQA7dilTz9TUyWN00iqImOSBleQPxFW7jR7CHQUWRYodQVfO8xsbzKRkg46g8jHTH0rO0y4QyQXCnCE889OxB+nNACSkC7ukVWWKOXYmRjICrz+PWkpYJru3ubuI3EoZJyD85x91an+3Xf/Pw5+uKAIrcsLiMp97eMfXNLebBeTLHjaHbAH1q1bXl0oeZpjtToMDlj0/x/Cov7Qvv+fqT86AK4Rj0Vj9BVu6jmkt7eby3LbSjfKf4en6EUw6hfEc3c2P96poLq5SM3UtxKQDiNSx+Zv8AAUAVBb3H/PCX/vg1Ygt5/sdyphlH3CPkPPNQPc3LnLXExP8AvmmmaY/8tZP++jQA4WtyelvN/wB8Gl+yXX/PtL/3yaYpkkYJvY7jjrS3TiSd2XO3OFz6DgUASXNrcf2JqKPA65hLLkY5Gf6E0yGzufKT91/COpHpVO//AOPC4/65P/I1JD/qk/3R/KgC59gusbvLGPXeP8aFs7lWDL5akHIPnKMfrTbQeYstv/fXKj/aHI/TIqvQAvjiPbo+oTYUCawmY7SCN3ltnGK4Ku+1YfaPBusW/WSCznlT3HltuH9a4GgD1XwS23TdWYKzEa1qR2r1P+lScCtXSY8WxuG2mW5PmswOeDyFz3AHFZngX/jx1T/sOaj/AOlUlaumgpHLDklIpWVCRj5euPwzgewFAFqiiigAooooAKqWqma7mun6KTFEPQA/MfqSPyUVbqrpzFvtTbcL9pfYc8EYGSPxz+RoAreI7fzrHzFHzRHd+HeuZHUV3DKrKVYZBGCK4y6ha3u3gbqrYHuO1AGbof8AyCLX/rnV2o/Den3k+kWnl274MY+Y8D9a37bQGPNzOB/soP6mgDEqza2F3c4MULbf7zcCuohsbSLbst4wQOG2jNWKAMqx0eKOApcN5hZgWC8DjtWlDFHCmyKNUX0UYp4IIyCCPaigAooooAKbNgQuTuxtOdvXp296dRQBzvh6MR+CtHQYxtgPHuwP510VczpUscdnqMLMI1g1ZmCHhY4y4Ix2xwx+ua3bbULG6iilt7y3lSYZjKyA7x7etAFmikDKSVDAkdQD0paACvJY5VvvjL4lvoYJFtbe2hsZ2dhuadeflHULtI+pFetV43pNwNF8c+ItH1xjBqOoahJe2s0gwlzAQNoVj1KAYx2rmr/HC+1/0Z7WVp/V8U4K8uS1vLmi27eSXy3OsZifYDoKSqaXNxN81vaqYj9ySSTAbn0AJ+lXLWOWRf3gRCOXIOVUfWuk8UdGjSNhccDJJ6AepouhDLB9n8tWiyCxYcsR0Pt7UskgI2Rgqg/8ePqaZQAlV0/d615hB3SWbIn03jcf6fnVuJGklWNerHArO1O7t4/E6LuOwWRWMBSTgOOcD8zQBfoqmNQhBJlWWBMZV5EwGHqO/wCeKG1CDAMKy3AxljEuQo9TnH6ZNAGlaBiZAiszlQqKv8TFgAM9h6ntTLgqbiQr90ucfTNLZvC0EkguIwsiFFwwLEkgEgdeOT+FMdtzs3TJJoARTtYN6HNOkUK3y/dPI+lNp64Zdn8Q+77+1ADKyNYvZoF8ueDEcjBA68gncMH+hB/DNa9VdWO3TZ3PCou9voDk/oKALR61y/xNt3PhhtVguUt7nR5V1GBn+6zR5+Q/7wJH5V1Gc8joa474uNa3Hw/1iL7ZbCSARO8RlXef3i4Xb15rnxbSoz9Gexw/GUszoKPWcU9L6NpP8HY6PRLgXenR3axmMTlpQhOdu4k4z+NXqj0u3ma03rb+SjSOVXhQo3HgVOY8TiFpYVcqW/1gOBnHbP8AkGt1seVUtzuysMopblrO2jDTXqZP3USNmZj6AY5p8X2fy1MnnbiASoAGD6ZpkEVAiEBaIZwrHGewPIA9sEVYSS3jfcLcv7SP/gKinnW4uZmVVUhhlVHA+VaAKN4JHv7FEYBA7ySD1AUgf+PMKuVWk/5CUPr5Un80qzQAVb05oYt09wrMhBjCjuSOfyH9KhtkXJll/wBWnJH949lpkkjSHnhckhR0XPpQBBqaGOGWMkHa4GR3+YVPHI8UokjYq6nIIqHUfmsi/oVU/wDfQx/n2qQ9aANu5125XTkms9Mmv7nftkhiHIG0nd9MgD8aW5tdW1fSX8yeTTpZWQeSGwECS5Y7gN2XUY+mPeswyPa4jhkKy9XZTgj/AGf896uQ67dRxqjRxyYGNzZyfrQBRl0Dxahnmi8SljktFGAeQM7RzwODj0J5NEvh/wAV3Nqs3/CSm0vJrSOK4VQWVXEWGK9MHeScgDt6Vqw+IDu/fW4x/sN/jWlbalZ3GAkyhv7rcGgBtis1pbeTNI0zxRR7nOTvOMFvxIqSOScTJHI8L7sn5FPT69PT60skcpuozGqhM5kZjyRggKB+tKqyrcKP3KwD7gXIbODkY6e9ACXnmsEjhUFmYbmPRVzz+naopm/0xbNA8KtAQrrwOvQD1AHX3q4jBt2M/K20/Wo5Iy88MolIRN2VHRsjj8qADzPLdI5FI3khSOQcDv71jQL9m8Uw2vyBTDK6AdT938+Bj/gJrXhh3Ms8ygy4wMgfJ9Kzdbtmn1exeI4ljimZSOv8PA9DQBs0VBZXK3UO8YDDhgOxqegCpfQzebFd2oDzRgqY2farocZGex4Bz7Y70v2i82rt087z1DTLtB+vUj8KtU2WWOFDJM6ogIyTQBixSWkOkQDUIUZpiz/u1ySckBs9d2MZPrmqMHiy1guJLCXzHlR8I0jjLKeRnHQgcc1HqWVW2jKlCIQzA9dzEkk+5JyaoyxRSoUljR1OMhhnOOlAE+qeKopklgkVUhUBpJVUsi9xlug9ayjNc38QNtC0Ee5Xjmkba2QQQQuOn41dWCFUdFhjVZCS6hRhs9cingAAADAHSgBSSTkkknqTTUtVEM8lvIyTLmTySuVlHVgO4b9D6U6hc7htznPGPWgBtmy3KXDqdzrJnIOd6bF5/D+VOUFmCqMknAHrUKxGz1RkRmjkK73QEbVIwAR79c/hWnCsZje6WSONsbdp42se4/D9aAK9yQu2FSCI85I7t3P9PwqKpSlup5mZ/wDcT/GmRy2bTSRbbjKYzyOc0AS2drLct8owg+83oP6026k8yTCrsRPlRfQf41X1eaR7B/LXC+fBlQeETzBn9SKtC43Ai4jExJB3E4bjtn0oAgpKtzXivH5aWdtGPUJlvzqCOWWP7kjL9KAHW6spaXawCKSDjv0H6moqstNL9jbzJHcysNoLE4A6mq1AEF//AMeFx/1yf+RqSH/VJ/uj+VR3/wDx4XH/AFyf+RqWHmKMDklR/KgB8btHIsinDKQQalvFVbhtnCPh1+h5qRLJgN11Ilsn+394/RetPmuLVY0jhiaXYrKHlx39v5UAULlJW0nU3jDbRYXO49seU1cFXoN9I3/COa9I7k7NKuFXJ6ZQiuAoA9X8Df8AHhqn/Yc1H/0qkrVsizXV6dhCecAp9cKoP6isbwfNHbaRrFxMcRx6zqTMfYXUlbenRtFaKJFCyOTI4HZmOSPwzj8KALFFFFABRUF3ciAKqqZJnOI4geWP9AO5qDydVZXY39sjk/u1W2JRR6Nlst9QV+lAEmoFpPKtUYgzthypwQgGWI/Qf8CqcCK3hVfkiiUYGeAPaqg02OZ0mv3+1zKpAJG1Fz1woPsOuegqSHTrGH7lrGfdhuP65oAbLdtLIIdPaCaQf6xy2UjHvjqT2FLFYnzlklupXkyNxVVTOPcDOPbP51ZjjjjXbHGiL6KoAp6/eH1oAz/Dv/ICs/8ArmP51fqh4d/5AVn/ANcx/Or9ABRRRQBRYzWHIxPbM5wvAkQseg7NyTxwfrVq3minj3xNuGcHjBB9COx9qW4hSeB4ZM7XGDjqPce9ZtrMwubeaRgskrNbXCj+KVQSp/JT+BHtQBq0UUUAFFFFAHKeJdF1GW4uVs7m2hsNRnt2u9wbzRtYK4THHzKAM8Ec9c1c8I20ENlqGmPbQg219MsgVBtYOfMU/wDfLr+Vauqf8e8f/XeP/wBDFZWuWtvZazp+qWwaK6uL1LeYqx2zKykfMM44CjB68CgDcghht4xFBDHEg6KihQPwFPqpMzTajHajesaJ5zsDjcc4VfXsSfwq3QBX1K+s9NsZb7ULqG1tYV3SSyuFVR7k142b4+MvGp8U3DTSaDp832fR1dNiEsuGnweSC3GT7elaHjlf+Eq+KjaFqGW0jQ7SOdrST7t1NJyHI/iVRxz3yK32hhaD7OYk8nbt2Y+Xb6Y9K5VetL+6n97X6J/ie7LlyyhaOtWpFa9IxlrZd5Sju9LRk1q27SVNPlI44c8bQ5Huf/rYqGpbvAupFHRTt/Lj+ldR4RFRRVaS/s0dI/PV3dxGqx/OSxOAMDPegC6AVtZGDsjv8iMuMgfxHn24/Gsa3t47fxD8hdmazO5ncsx+cdzWhPqNk0hj89YxF8gWT5D65wfXOayl1CGTXt8EdxMBaMvywsMneOmcfn0oA2GkReGdV+pxUL3kiT+VZKJLhQG3HGyPPQn16dBWdZWMc+o3M19EkkqlWVHAPl7gfz4wPbFTNatDqT/YnEDSQAlNg2Eqx6+mdxGaANucf6PG0LOIWzuUsTh+pz656/iar0aXdpNAHkRhFKMSJnJUg4/MGnzxtDJtJBGMqw6MPWgBlFFFADpOobH3gDVO5lCSGO6jU20g27+o56hvQH16dq0Uh3WwldhGobAY559gKjlW1aJ42jaYMMHfwMfQf40Act4h1a60vw99ks1M+szyiys4iclpXJCN7gDnPtW/pPwr8N6fpVnu021vNYixJPfXOZHllIyzZPv044rl/EEOv6d4r0TxNb6dDr0WmrNGtpEgikBdcK+SSGIPU8YHatVPihr2n7rjxD4NaPT4zie50+78/wAj1ypA3Y7kGuGcoe1bqrbbRtev9dj6rD0cSsDThgKiTndytOMZN3aULcybstUrauXXQ14oJrcSJOjK3nSde/znoe9UFu4IbueSYuZGfy1EcTOQi/7oJxknn14rM1T4nrfSSQ+D9Hi8RWVqstzfyvvjwC5KpEccuQc9K2PCsmneILK713w87zWssgEkci7ZopAg3IR7fzyfeuiGIp1JcsX/AF5dzx8Vk+MwlJVa0Gl17rtzLeN91e11sLZo80/26UbSyFIkKkFUznnPc8fTpVyg8HHQ0VseaFMMXlXcpKlTIkb4P0xn9KfS6tdRR+VNM6KUs0BywBb53AwO/QfTNAGc86Jqku5JpHSJQFjQttBySf5e/Fa8cAVRJcMYkIyFx87fQdvxqDT8WkLMu2S4lcyPKRwM9Ao9hgZPXGeKVmZmLMxZj1JPJoAdNJvwqrsjX7q56f8A16ZRSxo0jhEUsx6ADmgCK65tnT+8VH47hirVoB55kfhYwXPHcdB+eKjvo4YLdvtDGRwV/dxngfMOrf4VYvZYXQG3iMYc5kG7PzDsPagCqSScnqetFFQ3s32ezmm4JRCQD3PYfnigCaikXO0ZGDjkUo5OByaANvQrhpLaW2nJaM/KnzYJJB+UH8K1bMwspUTec33jnqB2HtxXMXO63SK3yVkQ+Y+OzHp+Q/nXR6K8UliJY4whdi0gHd+5oAkt5gsSx+S6OoOQEIUY9zxim2uxWBWaNtibZdrDGf6dTVuqs0dvDCIVjWKJ2O/aBg9zkd80ASQu7Ty5b93kKmRjkZzj1HT9ar3P/Icsv+uM3/stPu0YRW5iXY6SptTOBzwwP4E/jTLn/kOWX/XGb/2WgBt5G1rcfboRx/y1XPBHr/np19avQyJNGskZyp/zj604jIIPINZozptyF5+yyHj/AGD/AJ/T6cgGlVXUSqi3dyAFnU5PbrVocjI5Fct4t1FZL+00uFzkM00uO4UYx+bD/IoArX8/2i9lm7M3H07VBRRQAUUUUAFWf+PMD/n5P/kMf4/yp4j+xQrNIuZn/wBWOye59/QfjVMkkkkkk9SaAIrVUmS9tptuHlPlyMOYpNi4cHqOevqKnt3aOWS3uUMbj5JkP8J6gj1HQg1VtP8AWXP/AF2P/oK1au2Z1iuyM+WohmIHO3OUY+w5H4igBZIpI8FlIUnhscH6GqVhmRZLlsAytwB2UcD8f8atNcyWsMkiyMqqpYjqOB6VFYYk0y2kVNrGFWkUDuRkn9aAJJIfPsryPdtJt2KtjoRyD+BANNgfzIY5MY3qGx6ZFPlfydOu52OF8srn6jJ/QVHbKY7eKM9VRQfwFAElKo3MF6ZOKSkvRJbWLzk7GIwg/iJPGcfjQA+SeO42yQjEW0CP3X1/Hr+NEcbyPtjRnb0AzTw1ugCR2qhFGACxz+mB+lWLSeSWR4PlRHjYBFGBnHH8qAKWoQxR2Fz58oLeS/yR8n7p6noKlhumjhUW6rCCo5Xlun97rUE9vNcWNz5MbNiFyT2HynvV2O3tbWKP7VKZX2AiOHp07t/hQBWRZJZNqKzuewGSasizWLm8mWH/AGF+Z/y7fjSSX0m0x26rbRntH1P1PU1VPWgBdburaPw9q8MduViksJ1Z2bL/AOrbB9OtcBzXYa//AMi/qf8A15Tf+i2rkKAPS/Cm2a3vbNmUq+u6m0qHncouZeCPQkiurNc54ChjS11iVV+eTXNQLE+1zIB+FdHQAVQleTUN0NtI0VuCu64RiGJByVT8sE+5FOuv9MuTZrLiFF3T7Dhs5G1M9gRknvjHrVxVVVCqoVQMAAcAelADUhhjleVIkV3PzMByfxp9FFABRRRQAUq/eH1pKVfvD60AZ/h3/kBWf/XMfzq/VDw7/wAgKz/65j+dX6ACiiigArM1K3aK4S9WTEQlR5UK5xjjeMdODz7CtOigABBAIIIPII70VS+zyWeGsgzxZ+a3LcYP9wnpj06fSrME8c0PnKSF53buCpHUH0xQBJTJpooQPNkVM9Nxxmqhna+ISzkIt/8AlpcIfvD+6h7+57fWp7aztrc7oo/nxjezFmx6ZOTQBQ1O+8yOJba1uJ1MsZ80KFj++OMtjP4Aj3qr4k/tWSxjuF0+MrZ3Ed2yrcZdljOSANuMkZ71e1m+s47aMyXUK5uI1H7wZJ3Dge9Pu3uL62lt7eBoo5UaMzS5XaCMZC9T+lAC6VNHfFtThw0EyILd/wC+nJ3D2OePpnvVm8ubeztJbu7njgt4ULySyNtVFHUk9hWLZf2tocMFpcQ/2lYRQLGktnBtlj24ADJuwQRzlehHSsn4h6lfX/gjV7HTfDmpXVzd2skEMc8KoHJXk7S2TgZPA6gVM5OMW0b4WlGtXhTk7KTSv2uzkdMvF8VfEbU/F9jIw0mG3XTrRtpX7Vghmk5/hB6V1VcdokXxHXSdO0yz8KWtgUgWBJ9VvACzKnUonIzg1u6f4G8R6vDv1zxtc24ztltdKtlg2Huu9tzfjXJQqNR0i23q9La/M+gzTBwqV71K0IQilGK5ud8q0XwJ6vd3tq+hpNeWVjNFLf3VvbRBgS00gQYH1rk9R8faP9oNto7TaxcHqLKB5wD2+6MH8xXY6d8L/Aumv9suNKGoTLy1xqUzXB+p3HH6V0uhQ28YnntLZbaGRhHGiIEGxMgEKOmSW/Stf38uy/H/ACPP/wCEuj/PU+6C/wDb2/wPKbW3+IOtXEc1r4ans4grANqt0LeJgRzuhTLHHbJFW5fhr44nD3zeO0s71AGt7SzgZLVWHQH5s4PTpXrlFJ4bm+OTfzt+VjSnnTw7vhqMIf8AbvM36ufN+FjyGy8TPa3yaT4s06TQdTPyxmY5t7g+scnQ/Q81pzSRx+IFaWREH2M8swH8Yrv9Z0vTtZ06XTtVs4by1lGHilXI+o9D7jmvKL/wTq3hnW/tHg4LrdmtuznTr2QebGu4ArDKf5NRzVKXxe8u/X7uvy+4n2WDx38JqlU/lb9x+kn8PpLT+90Nyzlt42neS6ty0kpYHzB93sPwFPsv30st2VID4WLPUoO/tkk/hisjw/rWjapqM0O17XVVAEljeReVNCB2CnqM5ORnrXRVvCcZq8Xc83EYathp+zrRcX5/1t5lIstvquWbZHcRjHYeYD/Mgj/vmtOzmhnh8l5FaJv9XIDkIc/y9aztTs1vrcQu5VQ4YjGQ4HYjuP8AAUul2MGnWMdnbKFijzge5OTVGBcljeKQxyLhh1FS20SkGebiFDz/ALR/uiprbZdQlLhiggGRKBn5f7p/pVe5m81gFXZGowieg/xoAVpDNJIzAAbTtUdFHUAVDUkC7vM9oyajoAzdVuJRcQ2yBlj+WSeRc5C7wNv49/YGtBEWOMRooVFGAoHAFUU8mXUr61mZWMkaHZnnZgg/r/MVNYSNta2lbM0PDZ6sv8LfiP1BoANMjSOB1jRUXzpOFGB981gax4Z1I6hdar4b8R3uiXtwUaSOE4gmZehkUcknnmuhsP8AVSf9dpP/AEM1P+f4VnUpRqK0jrwmOr4Sp7Sk9XvdJprs07p/Myfh5rWra9Nrei+IIrGa80dIydQsiSkhIPyPn+MY5rXrnvhZMfDur6h4Avfs6i8Et7pt7gh7rcxLo5P3nUfp2ro543t5GjmXYy9c/wA6zwsm6fvPXr/l/W+5255Rp0sW3RilCSTjbZq3xLtd30+y7x6DGZVUszBVHUk4AqodRtppolYmNER1WSQbVk3FT8pPUDB/Om28X2wLdXILITuiib7qjsSO5789ParjqrqVdQynqCMiug8crwzWMEYjhkhVckhEIPv0FNW8llO2CznDc/NMuxQPX1Oew/PFW0VY2DRgIw6FRg1Z+1ysAsqxzD/pouT+fWgCpDBflDK/2byh/GSyZPoBzk1Ml+ZUKQ28tmFGxlYYZ/ckcH8KJ5pJn3SHpwABgKPQDtTKAIL7/j1b6r/6EKv2kP2gTxhlDBN6hjjJB/wzVC//AOPVvqv/AKEKkMyrdJFz5jKzjjjAIB/9CFAFiW2uIv8AWQuo9ccfnVC/BZrZA2AZ1J9wAWx+laMvnWsxWORkBAYFWxkGq1xdCbULaK4hEpAeQsuFYADHXvy3egB1W7Vvsai5ZFaVv9UrdB/tH+lR7rMc+XOfYsMfyqKaRpZDI3U+nQD0oAs6gquI7tRt8/JKehHU/Q1t+GiDpmPR2Brma2PDFzsne2Y8SDK/Uf8A1v5UAdDSOquAGUMAcjIzzS0UARTR75InH3kbOfbByKrXP/Icsv8ArjN/7LV6qNz/AMhyy/64zf8AstAF6myRpIhSRQ6nsRTqq6leJZW5kblzwi+poAy9Tu5NLJt4plKsh27jjZznr2PPHY8dO/M6fvkD3UysssrH5XHzRqOAp/LJ9yaklto7i4kuLsfaZZDlmlAbHsB0AqQjbz6DAbkkD0I7j9R9OKAH0U1WzgEYbGcZzkeoPce9OoAKsx7bWPzHAaZh8iEfcH94+/pQifZkWaRcyNzGh7D+8f6CqzMzMWYkknJJ70ATRTfO6zMWWT7xPOD/AHvrUckbRthh9D2PuKaAScAEn0FWbfJjkt2fO5SVUc4Yc/h0oAzrT/WXP/XY/wDoK1dtJVim+cbonBSRf7yngisyO6t4JrhZpkRjKSFJ5xtXt1qWN765dUtrTy9wz5kzABR64Bz+eKAG6rFPHaXFp9+ZAMY/5aJkfMPXK/rxV+FUCJJ5yojDKheTtI9P8anh3+RFDNfWcjwtujl8l1ZBnkKwPfmoY7XTraIhLu7mcsW2hFCKT1xkZ6nPJP5cUAM1vU4Wghs/sFuYp5kj8vbklSRuP0wDmpGhXLM08QXPGGySPYD+tQavb2d1ol21raBL6zU3dtIfnd2QZKk9cEZGB60aeTfyypZxyTCIKXZUJUbhkDPrjB/EUAT+ckabYU+bIPmN978PSqGqOWhCklpJZFVe5JyD/IGrtxYSqP8ASrk2ihh8kWGmcfjwg9zk1jxXraNrlwslx55e1WS0e52lslm3KvAGeFzxmgDdSzlMfnS7YIv78nGfoOppEubOISLa7ppAwAmPy4I5OB1qs8j3KhrhxKzDJycio1t4lm87aS/OCSTjPXA7UAF9cXUmkzxzTOR5cny546HtVhAWsIH67BsPt3H9aq3/APx4XH/XJ/5GrmnHdbvB18yIFf8AeUZH9fzoAiooqOZGdQFkKc5JHXHpQBV1/wD5F/U/+vKb/wBFtXIV0+rtP/YurRSRtsWynIkJ65RsD8K5igD1HwdcRW9jqIkJLPruohEVSzN/pUnQCtovqEwHlwxWynPzSnew9PlHH61heB5LSGDV3eSNZW1vUAxY8gfapMD6f410P2y1/wCfiP8A76oAdaW8dtGUTJLMXdj1dj1J9/8AAVLUH2y1/wCfiP8A76o+2Wv/AD8R/wDfVAE9FQfbLX/n4j/76o+2Wv8Az8R/99UAT0VB9stf+fiP/vqj7Za/8/Ef/fVAE9Kv3h9ar/bLX/n4j/76pVvLXcP9Ij6/3qAK3h3/AJAVn/1zH86v1k+Hby1/sOz/ANIj/wBX/e96v/bLX/n4j/76oAnoqD7Za/8APxH/AN9UfbLX/n4j/wC+qAJ6Kg+2Wv8Az8R/99UfbLX/AJ+I/wDvqgCeqk9rKssk1o8StIP3kUiZSQ4xkkcg4wM88Doak+2Wv/PxH/31R9stf+fiP/vqgCIz3kqqsdm0Lt955WUqnrwDk+3SqmrW9w1u8LX88kk6lIokAjG7HUlecDqea0Ptlr/z8R/99VUsbyzmmmvPOi+c7Im3dUHp7E5P5UAPv7e2hijaG3hiPmxqCiBTjeOOKvms7VLy1+zx/wCkR/6+P+L/AGxVr7Za/wDPxH/31QBPWa82bl7l5khRSYoiwJwAcO2Pc8Z7Y96tNfWaqWa6iVQMklsACqulXdv9nkc3ChJJnkjDHkKTkfTPJ/GgCS4aO4v9PCsGA3zj0IC7c/m4pdSjMKPf26t58a5ZV/5aqOqkd+M49Kjsryye5u5RcRMRKI92ewUfL+BJ/EmrRu7QjDTxkHqM0AF95MlhMZJljiMZJlJ4UYzu/rUWitK+lwyTqUkcF2U/w5JOKpwSWN1oxtJJYsxh4Rv6BlyoOPToR7Yq7a6haS2sMnnoN6K2C3TIoAt012wQq4LkcA1WTUbVrmSHzUGxVO7cMHOeP0omuLJvma6RcYLENjIGeD7c0AJIzXkRhhZlB4aZANoI7DPUVA/7vxBlUZ8WJwo6n94PWpV1OxFuhjkUA/LGrArn04xkD8Kz7e5tV8T7pZ7cTGzbO2TOR5gx6dqAGeJ/CuieLbSP+2NPeO5iP7m5jby7iAjuki//AFxXD31l4y8IBmvon8UaMnIu7ZAt5Av+3H/y047rzXo2n3tvJA0zXpCtMZAHcHC4+79Ac1cW9tCAy3MRB6ENWM6Kb5ouz7/59z0sPmc6dNUa0VUp/wAr6f4XvH5aPqmcF4b1Gy8R2BvtGuEuoQdrkHayH0ZTgqfrWqthcN2j4GT+9Xgdz1pvizwj4d1sT3VrNHpGsSY26nZgLMCP7394HuD+dcc+t6x4Pih03xXEl1ZfdGuWe50f085eqHjryKn20qelVfPp/wAD8vM3WXUsWnLAyvL+R/F8nop/K0v7p1N/ewxNHaxLI4OWCohJcjqx9B2Gap+XcXLFpmkt4eixKwDH3LDp9Aar2V/ZTX000d5DLHLHGYWVwVZRnOD9ev1FXvtVt/z3j/Oug8dpxdnuNt47yFyscsc0O1v9aSHXg4+bnPOO351EIdQYFnvkjZhyscQIX6E9fqfyFWVurYRuftCZ4HX/AD6U37Vbf894/wA6BEYs1URsrkypJ5jSN1YkYOfw/kKddQs7JNCQs0fQnoy91P1/ninfarb/AJ7x/nR9qtv+e8f50ANsP9VJ/wBdpP8A0M1YqlYXEBikxKp/fSd/9s1Y+0Qf89VoAyPGWgjXtLWOG4a0v7aQT2N0hw0Mo6HPp2NZ918TtDutLj0nxcX0TxBGwhuw0LNGVxy6soIKt2HbOeldN9qtv+e6fnUF5/Zl5CYbxba4jP8ABKoYH86wnSlzc9N2f4M9XC46h7JYfGQcoJ3TTSlG+9m000+zW+qa1vbTaY1ZMbCoK46EEcY9sU6uP+FN9C/geCOW4KyW91cQNDIf9QFkysY9grDFdT9rtf8An4j/AO+qujU9pTU+5zZjhPqeKqYe9+VtX726k9FQfa7X/n4j/wC+qkSSN/utu+grQ4x9FK3kxoXnu7WBB1aSUCs688ReFbIE3HiK0fHaD94fyHP6Urq9jSnRqVL8kW/RXLN//wAerfVf/QhTmCrqEMrkAbXRR3Y/KcfktYs/jDQZLRms9N12/ORhks2VTgg9xSt4j1q+khuLfwSkMaSloxdTrG5G0g/KM4/GrUJO+j0NfqlXTmsr7XaX5tHTXPz2tvJ3AaM/gcj+dZnDawcHmO35H+83H/oBrLfxNrNnbeVrXhnyrdXEpubKYTCNTwdw4PHGcA8CrWl6lpt7Pc3lteW80ZKxrIjgggDPUe7H86JRcJOMlqZzozjBT6Pr/X6mrRUP2q2/57x/nR9qtv8AnvH+dSZE1KjNG4dGKspyCO1Qfarb/nvH+dRWmoW08Cy+YibicAtnoSKAOpsNcUqEvFIb++o4P1FbSMroGRgynoQcg159HfWcjOqXEZKHa3Pet7wxNHl5TeKsI4CbuCfWgDpKo3P/ACHLL/rjN/7LU/2y1/5+I/8AvqqNzd2v9uWX+kR/6mXv/u0AaNxMlvA80hwqjJrkb+6kvLlpn4HRV/uj0re1q5tZNOeMXUSliAMt1Oelco1zbqSrTICOoJ6UATUVD9qtv+e8f50farb/AJ7x/nQA5l29yq8npnafXHp6jv8AUCrdt5cSedOoZ/4Is5GfU+3p6/Sqa3NuzYE8f5003lqkg2yRFQMKD3GDkfXuPfI7igC0xkmkZ2JdjySTUc8kNrH5lxJHGCcDcwAz/ntVe71KzhiVY5BKzsNqhgCx/wAB1zUNs8IczXM8DzEnGDxGOPlGfp1oAl/tS3c7ITJIx42xxN+vHT6mkF1frmaG0EJj+bMrBiQPRVP8zUv2u3/5+E/Oj7Vbf894/wA6AIrC2itpLpYmEgM2fNzkyDauGz3yK0pm8lDboCCceYfU+n0FVNFltTDcy+ZATHcOI494y42rzj0BLce1JJdQ7yZJ13k5O48mgCWioftVt/z3j/Oj7Vbf894/zoAsRSNFKsicMpyKlt7hbO2a102FLKBmLFIySc/U9sAADsBVL7Vbf894/wA6PtVt/wA94/zoAmJJJJ5J6mqPiP8A4+NJtQpby1lvZD6ELhF+nzZqx9pt2O0Tx5PHWsi+njuvGOoTrdRSfZFWKKFpMLtKjJ791/lQBqWe1zvXOFUKo9OATVmqf2q0t4UWOSBRuAwGwB6/1qX7Vbf894/zoAL/AP48Lj/rk/8AI1PaOY/JkH8IU1Sv7q2+wXH7+P8A1T9/Y1JFdW3lJ+/j+6O/tQBduUEc7ov3c5X6HkfpUdLNdW0ltFMJo8oPLfn06H8uPwqD7Vbf894/zoAr6/8A8i/qf/XlN/6LauQrqteubc6BqQEyE/Y5u/8A0zauVoA9Q8DXdv5Wq2xkCy/23qPysCM/6VJ0J4P4V01YHgb/AI8NU/7Dmo/+lUlb9ABRRRQAUUUUAFFFFABVW6ZmvrK3HRnMjHOOEx/Ur+GatVVvFC3VncbsFJfLPuHGMfntP4UAReHf+QFZ/wDXMfzq/VDw7/yArP8A65j+dX6ACiiq2p7/ALE6RuY3kKxhh1XcwXP60ARx3N1cMGtYIvs5BxNI5+fnsoHQ+ufw71dpEVURUUYVQAB6CloAKKKRuQV3bSR26j3oAr6rI0djJtJVnwgYfw54LfgMn8KHUxwQtbOwhjUYjjQMXXsB+FPitYY1CqpIDbvmYtz681Xe+L3Jht1J8uTZISOScchfpxmgCC/uZ5DEn2UrGZYyS3DKd4/Ag47HuK0oJfOQtskTkgh1weKz9X+0TQRKji3UTx7wQC/3x07D681JfyfZ8xwtKZnUs78sY0HVsevoPX8aAHS5vrk24ANrER5rf33H8H0HU/l61bRWEjs0hKkjaP7tMtEhS1iW3/1QUbDnOR657/WktpxJEZJFMW1iGDHpg4oApafbzmCWeC7lTzpZJFR1BUZYkHkZFWrC7S6jZThbiLCzxZ5jbGcH+YPcVB4fuDPpqBxiSMlWHtklSPwx+o7VX1BXsdU/tCKNSJQFfA5cgfdJ9cAbfcEd6ANNIESWWRWcGTlhu4zjGQPXgUliksdnFHME3ooU7DkHHGakjdJI1kjYMjqGUjuD0NBceYIxy2M4BHA9aAIpFZXP2dFEkjAu7DoB/M+gqOJwb+Yb2O3glmwBx0Ud8dSfehbt5I1aGMYklMcZPIwM5Y47cHH4Us8EzTwBWURAN5w6bs49KAFMbm5M0cjRqR87EA7gM4A9Byecc1Q3Wsvi5GWRDKtlxhuT8/H14JrVliWUBX5TnKdm+tZ0ixP4oRWCsws9wHcESAg0ATxpdWpKLiZCpZdqBdr5z09Dz1NTWUSwxbfLWJmJZoweAehI9u/40lzNJGHLRkRAffQ5bp1xjA/GqywxGS3mt2PmBS+CBuZe6+2c/pQBo0kiJJG0ciK6MCGVhkEehHem28qzwJMmdrqGAIwR9afQB5br/wAP7jS9VN/4AkS3kQme40qd/wDRZCeMJ3iYgt044HSmaF4lttQu20u9t5tK1mMfvdPuhtkHup6OvuK9OtkcTXMjrt3yDbz1AUDP6VleLvCmieKbVIdVtcyxc291E2yeBvVHHI+nSub2UqetL7uny7fl5HsrMKWMXJj02+k18S/xfzr1tLtK2hif8su+d39KbXN37+IfAp2eJZP7W0BnWOLV4lxLAScKJ0HX03LXWhrSEfIv2l+zNwn4DqfxrSnVU7rZroceMwM8LyyupQltJbO2/mmrq6aTXbYjgt5pgWRfkHV2OFH41J/osHc3MnoOEH9T+lRTzzTY8xyQOijgD6DpUdanETWF5cvp822Ux+XcuVWP5QAXb+uKcL68/wCfqX/vqq2h/Ms8WM+Y0yj67iR/KloAs/2he5/4+HqG81i5tbWW5munCRKWOcdqZVXVrX7bp09r3deOe45H6igDA8LaT430q0uJE1bSbYaleSahMjWjSuskgXK53AYG0Vqs/j/zAF8Q6T5fvp5z/wChVd8OTeboEMTSb5rc+VICMFSOgPvjFXa9SOEoR+BXW3/BKrZtiK8nOoldu/wr7r2vZdjIaTx6Plj8QaQQ3VpNPbK/TD1W1HS/E16v+neML2Pn5haW6IMe2ckV0FP+8m7uv8qawtJW02/rXv8AMzeYVne1lftGP4aafKxykXgvQZkCajHdalIMEyXV08hf364/AAVu6fpun6fCIbGxtraMdFjjCipZI8fdBx6D+E+op8MgkX0YcMPQ1rCEYLlirIxrYuvWd6k2/ViyE7D+H86QndPgdEHP1NMmJfKDgDG4/wBKkk2xqxUAegHc1Zzjkw/TGDnrXOz+F7dNWuLzSb6fSJZkAmFoq7JT2YqRjPXkV0Ea7UVfQU3pc+u5efbB/wDr1M4KceWWxtQr1KEuaD1+T/B6HPQ2fjCzZ4Y9Q07UYc5jmuo2SUeoITg0y0u9d03WLa116ezuYL/KwS28RQRSgZ8sgk5BAOD1yK6isDx5Hp03h25W+u0tZIkM1vJ5m145V5Vl79a5quGhyya0/JWO7DYp1akac4J300Wrb2fydvU1Lu4W2t2mk3ELjgdSScAfmaqr51ppyQqAbhyVjUHhScnr7c8+1MsVuL/w3bfa/kupbZGfcuNsm0HJH17Uubh9VthdRogCPsKvuV5Dj8iAG/M15id1cmcHCTi+hoWNttWK1gUnA2j39z/Oui0a6tbciwExds534wpb0FZFx/ou62jYFzxK4/8AQR7etVaZJ3NUbn/kOWX/AFxm/wDZar6FqXnqLadv3oHysf4h/jVi5/5Dll/1xm/9loAi8SnGm49ZBWCp+1KEJ/fqMKf749D7+lanii4RkhhjkViGLMAc49P61h0AByDg5Boqz/x+Ln/l4A5/6aD/AOK/nVagBw3eUceozVK7kmef7JblFcpvZ2ydgzhSAOpyD3HSr6r+4dt69vl7/wCeaoQHzdQnkGdsSiIcdT1P16gfnQAscey48+QgyldgXIVV/vbc8AE84ycdO1WQ3JXkEdQRg1We7y7rBbyT7DhypAAPpz1NJDNI8ibLOVYATkvhCvf5VPPJ6jgHnvzQBbGScDJNNLNvKrkFThmP8J9Pr/KkWW4YYMohDA4FuCoYZ7Mfm+vI+lKiqihVUKo6AUAQ2Y2tcKM4EuBk/wCytXo7mRU2NiRP7rjI/wARVGzIMl1gg4m59vlWrFAE4+yy/wATwN2z8y/4j9abJbyom/AeP++hyP8A61RU6KR4n3xsVb2oAbRVrNtcAbsW83qPuN/8T/KoxbSLO8c37sR8yH0H+elACQKFXz5PuKflH95vT/GszUNJ03ULt7q8s45pnbczNnk/StK4k8xxtXaijCL6CojwCQMn09aAOc0GH7PrWoaemJrJyZFCQsscLAgbATwT34PXPArduJJBNHHG4UsC3PfGOP1pujRwR+HNNlWdHmuTNJKqjkSGQlwfdSwU+4qZo0aRZGXLJnafTNAEd8T/AGfcZ4Pktkf8BNSQ/wCpT/dH8qjv/wDjwuP+uT/yNSQ/6pP90fyoAt2LfPJFgsJY2UD3xkfqKr06KQxSpIpwVYGnXaiO5kVfu7vl+h6fpQBna/8A8i/qf/XlN/6LauPrr/EOf+Ee1PGAfsU2M/8AXNq5CgD1fwN/x4ap/wBhzUf/AEqkrfrA8Df8eGqf9hzUf/SqSt+gAooooAKKKZLNFEyLJIqs5wgJ5Y+w70APooooAKqaonmRQxLjc1xFt/BgT+gNS3lwttbtIRuboiZwXY9FH1quNPkmuI7i5vJvPTITyjtRM9cA5ycZG488npQAnh3/AJAVn/1z/rV2WSOJC8rqijqWOBWLoGno+i2b/a75X8sYZbgjA54x0/TNacNhaRP5gi3vjAeV2kYD2LE4/CgCsmpfaLjyrd7eNSSEaYsDLjuo4yPfJzVhbeaS4Et3LG6p9yJFIUHIIY5JyRjj0qe4ijuIXhmUOjjBBqCxlfc9pM26eLuerp2f+h9waALVFFFADGmRZ0hP33BIHsP/ANdV9Oh8lZZGPzSykkn64FSvawvdx3TJ++jUqrA9j1FMjRjeyGU7gMGIY4Axz7Zzn8KAKbG8uL8osKiJZsSszkYQcjHrnPP1FX4LaGGRpEjAkcYd+7e5qF7gLdShLcvMqgAL1K9eew68epqyHbyPMaJg+MlAcnPpQBU1QwkR8oZRLHxnnG8VYtLdbcOfMeR3Yszv1PJwPoM4HtWVq9iJLNHNusE7XkbF4n+blwCS3Hb+lbLsyui7dwYkMw7celADbcMqMjdVY4OOozkfzp6FGO4bW5wcc9O1MuJFiiLswUZA3EZAye9Mso5UVzNt3u24hR8o4HT1oAztPhkt7RZ4F3yQySxzKBzMokbke46j8R3rQm8m8099rh4pIyVYfofqDUGluftd/E67H84SAAcbSoH48g/nVoW0arMqgqJslh2yRgkCgCpoUu+0aFmy8TYIx0DAOo/AMB+FW7vd5DiMlZGG1WA5BPf8OtZ+mz2ts8sdzcxRXRKRyI7BcsqgAr6gjB/HFacaKkaoudqgAZOeKAGLFtMIXOEB6cDOOpH506dpFhdo1DOFJUHoT+FAlTe6njZjJPTmm2c32iETKpCNzGT/ABLjg/jQBDvuPtycBUMQLKxJA55/HpWXaJHbazLPDM85ezeTfLnk+YOPp6VpW/mENHDMPKHzkupZjuLcdeMYrmruG+1J/OsdVmsAbdWiRrbaVCsUJYMM8kq2Mfwj8QDpIVhjnt1uNz3JQ+XK4wW6EjGevA49qltY2jkndoxnfiMjGSgHA/PNY2t6zqFpd6cqeH7243s5k2Op8ts7UyRkYOSxPYAZ61nP4o8QKu+TwvdDP3Ehcvk+WGIYlR/Flce3WgDrbSTcrKYDAVP3CR357VNXIv4o1pY0ul8K3bwFJXdVb51KtGqKc45O9icA42Hr1re8P3l3f6e1xe2TWconljETZztVyFb8QAfxoA0KKKKAMbxxoieI/COp6K2A1zbssTYztkHKN+DAVwvh3W/7S8OWGoNayGQxCO6SMbmimQbZAR1+8Cf/ANdep15B4JKtq3jBoxiM+I7oIB0wNucfU5Nc8vdrRa63X3a/16nr0F7XLasZfYlGS/7e91r56P8A7dNl7rzM+TbXMiqOXVdmD7BsEmmafcyoEt7xJUb7sUkmMygeuOje3frWhVe/aFbR/PTehGNgHLE9APfNdB5Aukzxxz7fMUSLO7Fc843nnH51ZmXy5nj/ALrEfrWDZac8lm6zOkS+dIzFRvkJ3Hkue/uB2ragkefT7O6c5aaBST/eI4yfcgA/jQA6iiigDP0yFm8RaldxsPJEEUTgZ5kBYk+n3SK1qwdGk1bTLjUIriD7XaPI1wJS3zknHyKo68D2rVstc0a8uvsqvLDOeiTwvFu/3SwAP4V7NKSlBJO9kjgmrN3VtSzXjuseFfirN+0HZ69ZeIJE8HAo0kAuyEWMKN8Ri7ktzn3617PPEYzn+GoqqUVKwJ2FZdp9uxqNowSWX5Xx96pVb+Fvu/ypGXafbsaoRAuTG5YYO7kflUk/8GOu4f8A1/0pgOYmYdGbI+malTDT7T/cZv5f40AFMbiZG9QRTzTZF3Dg4I5BoAzPF2oXGl+G76/tbeS4miiJVE6jtu+g6n6VQ0Pw9oSQWmoJZ213dGJH+2Om55DgHfk+vWpfG2rrpfhaa48uRprhRDCFHAdxgFmPCqO5PFWfDkaw6DY2wCAwQJCwVtwDKADg9xx17ivPxrakl5P9Oh6uH5oYXmTteX5Lv5X28zQpNpZ42C7ijhh7EdDS05GCqVypyMkZ54Ix+GQT/wABFcRkNJJOSck96KKBycDmgCfT4JZ7pVhIVl+cseigdzU/ii6juL7TfJlV1KTbsHuNvaluWFlZ/Y0/10mGnPoOy/41iT/8he0/65S/+y0AXKKKACSAAST0AoAASCCCQR0IrRtbNtSVXXEbqdsjEcN7/X2qNLWK3Tzb8kHqsCn5m+voKktL6WXUrbIVIlcKsajCrnj86ANttMtjYm1VQuQPnxySO5rlL+zkgd7ZiYmDAkpxnnP6/wBa7iqGs2IvIMpxMn3D6+1AHJRRpFGI41CqOgFPp80M0JxNE8Z/2himUANIwdwAbnJU9CcEZ9jzwaRG4AJzngH1PofQ+35U+msvXGORgg9GHof88UAUlt/MN80TGKd32iReowq4qzZT/abOG4C7fNjV8emR0qpNM9va3syqR++CqzkYViFA3H0yRz0+h4q7bwrb28cCfdjUKPwoAkpY0eRwkalmPQAVLDb7k82VhFD/AHj1b2A70slxiMw26+XGep/ib6n+lAEg8i0DbtlxORjHVE/HuafqskkgibHyNGpLDozY7+4qjVm3JeyngU/NlZAvqBnOPfn9KAK1A6iioL65S0tmmfLH7qIPvOx6KB3JNAEvh+O0k8GxSs3mTLezPOqtho5GdsqfyH160/S7yE24mFvHMJPmG8k7QRwKami3Wn2819qE8Rv7uJI1jgjISMDLHcecsCcZ9vemRNjEbY8wKC2OlAFjU7xW0+5C2Nov7p+Qhz90+9Qp80akYXKjp24qK/8A+PC4/wCuT/yNOikUeVF/E0e4fQYz/MUATrLIvRh+Qp5ubgnPmnP4VSguN1zNbyDbInzKP7yHoR+OR+FWKAE8SzXA8OXsXnMC2nzsxz2MbdfwFcF+Fdt4leX+xdaWaMKY7KSJSDwQIjk/p+tcVQB3HhybxbHcap/ZVjp1xYf21qGfPmKPn7TLnGPfA59TWrJdePN8UkelaOV2sskJnIwezB8+w+XHfrxmrXgb/jw1T/sOaj/6VSVv0Acq934+VG2aRokhH3Wa5Zc9eSOcdj1/+t0tnL59rFNmMllBby33KD3APfmpSAwKsAQeCD3FUtHszpunLavMsiRM5RtgQKmSQMDjgcZ9qAJbyaRCkFuFM8mdu7OFA6sfYccdyaW2tYoGMnMkzfflflm/wHsOKj00CRDesAWn5U9xHn5R+XP41boAKKKjupo7e2kmmJCKMnAzQBWtcXd0102TFGxSAZ4yMhnx9cgew96vL94fWq2mxmHTraFk2GOJV2/3cDpVlfvD60AZ/h3/AJAVn/1zH86v1n+H2VdBs2Zgo8sck470l1fPOph0tftD8h5UYbYvxJwW9vx+oBYnv7WCbypZdrcAnaSFJ6AkDA/GnXMNrcuI5lR3C5AzhgD3GORVaC0ud0ZMwtYlbzGihJYyN33ueoPpgfWrkMEMJcxxhS7FmPUk+5oAh0+R9sltMxaaBtrE9WU/db8R+oNWqp6srJayXcJ2zwpuBzjcoIYqfY4x7ZpftksbKlxYzoSD80f7xMjtkc/mBQBbphH+kK3zfdI68dR+tV0urqUbodPkVecmdxGePQDJ/PFN/tS0QATu8D45SRCCP0wfqOKAJNqQ3zyuyKJgqrluSw7AfT+VS3DbUB83yxuGTjOR6VnXOr6WssMralBGqEhg2fmBHSrkF1Y3gVoZ7efDfLhgSG9vQ0AU7iOeNBulkeEzIVWQfMp8wcZ79/wxWo7BFZmzgDJwM1W1T/j3T/rvH/6GKkTzpCy3EMSpjgB93P5CgBlnL9oR9/zbGx9zAPGcj1qzUVsfkMe1FMZ24ToBgY+nBFSgg9CD9KAKN5a7rqOZJGiJO0mMYfkc89McDqO1Q2Ctb6nJEi4icMDuJLblwd2Sec7/AE6jrU32yZAytEHf7QIUx8qnPPXnoP14pLHzjql21yyFwkflqoOEQ7uMnqSVOfoKAEvE33wwPMUxkPGu0FsEHDE9Rg9PrV9FVUCqoVQMADsKglk8iVyIGYOoP7tcszdMH8MVYoArXc0SuI5F3KEaVsjOFX+v/wBekmRS9tax4jCESbAvGxe3HTkjH0oZUuJp1VxkII2U8qe4J/Mj8TUlo0kkbNIgQ7iAv90DjH86ABvlmLpCHYkIzBgCB1GfxJ/OsvUQZPEAjCsx+xCTAfbkLMpPP9O9Wo/OVZpoxGI3mZ3fechQcdMY6LjrUMUwk8TJIokCtYkBWQgg+YP8/lQBe8yeS2leNQH3HywTwcep9Dg/hUmFm8uTc237wXpz2zThski6Bkdeh7giorTzgZklTaqyERndnKYGPp3GPagCG5kMF5AGZm8+cbQM4XCEHP41dqvNdLG0qJG8jxqGIA456DPr/hSxT7rya2ddrJhk/wBtCBz+ByPy9aAJ6KKKACvHtEL6X478Z6RFbGW0jv0vFw37xTPHubGeoyDxXsNeWagvk/GjXVxtFxpVpMP9raWUmuet8cH5/oz18tfNhsVT/uJ/NTh+jf3mnJcx/Z0ngP2hZDtjCcEn0OemO+aZDBK0iz3ThnUkpGv3E/xPv+lTxQxR3DXCRIJGGGbHUVI+zd8jL6lc8r+Hp710HkFax/1Un/XaT/0M1Y05o4bFrcwiRYZysYcnKoVUgDHbOcfSq9j/AKp/+u0n/oZqee3E2nzSRssdxEyskhHTqCD6igCfzov+fSL/AL6b/GlE8eP+POE/i3+NZUGpW72jTMy+ZGwSREbcQ+QMD15Iwfer1AEwmi/59If++n/xpszWs8Rin0+2lQ9Qxf8AxqOigCpZQXNhe5t7yV7OQ4NrN+82kn+FjyO/HNbclupzt4Nc9rumnUoI/KupbS4gcyQTR9UfBGcd+tamg6kL2NojLDPJCNkksLblLDrn0PfFerh6vPGzd2vyOOpDllotB9OPMLZ7fyp1yu2Q+h5pjfLC7HupAFdBmRRKzWqk8cDk8VKpRbjP3jsIPYcn/wCtTJCWi59Bx6UhP+kAdyp/mP8AGgDyHwtefGiT48alb63aqnglWl8lvLjEQi58oow+cuTjIJPfPavX5iVjOPvdB9adTOHfd1C8D61MY8qtcbd2BjRoTC6hkI2lSMgiueXTdS0Gcvoccd1pTEtLprttZCerQt/Cf9k/KfaukoqZ0ozWqN6GJnR0Wseq6O3f+rlDS7+z1S2kuLCUyCJtk8brtlgb+66/w/XoexNWd4dBtA2nkN3IwB+Wc/nWdc6HDfFr2zc6fqXklBfwfLIgPb/a+hquus32nrDb69olwFjRY/7Q04edE4UYDPH99Tj03V5tXDTp+aS3O+MadfWi9W7cvX79n+fkbNKjMjq6nDKcg+hplhNa6jAbjS7y3v4V+81u+4p7MvVT7EU6sDGUXFuMlZli4UTo11H1zmVfQnv9D+lZc/8AyF7T/rlL/wCy1eikeNt0bFTjH4VBfqjaraTwjCmOXcn9w/L+npQIuWtt5yPI8ixRR43ORnr2A7mpTdx2/wAtjGUPeZ+XP09KLnMOn28HIMhMzj9F/QfrVOgAZmZizEsT1JPJqzpkkMF4k8+4qnICjJJqJISU8yRhGnYkcn6DvTrl45Cphj8tFUDGeSfX8aAOpsdQtrwlYWbcOSrDBx61arm/DU8UV26SMFMigKT656V0lACMqspVlDD0IyK53xLpc0cIutNSP5DmWE8Bh7Hsa6OjrweRQB54bt1YB7K5A7soVgPyOfyFLHfWciBluogD2Zgp/I81bmXy5nj/ALrEfkahkhhkOZIo3P8AtKDQBDFLHDHfPMFaEOxkVgCGXYMjB68VesYobaxjuJo3eNkBjTdlUPcFjyQD+PT61iPpvnJcw29zJbJ5jKUUAocqvOP5c8Vq2UrAFb5TG/PlgfdmOOSv07g/TmgCSWR5X3OcnoPQD0FNprHblgNqcAgfwHgfkT09+PTLqACljdo5FkQ4ZTkUlFAEtyF8zei7UcblHp6j881SvYHm8iSGUQ3NvMs0EhXcFcZ6juMEjHvV+P57KRMZMbBwfQHg/wBKxZrHUWecw6tNEsswkC43BQP4RnoOnA9KANKfxNctAul6taIbuQFopbU5SQLycqeU49yPeolgjW9e4DN5joFK7uMA9QK58Wkja/8AYb3X7iCe7nDQMYSyPv3Hyz2CggKM/wB4Vq6VZ3MLq91qMl5JHEIWZ0C5YdTx6mgC1f8A/Hhcf9cn/kahvAUtY7qPPmQqCADgMpxuU/XH54qa/wD+PC4/65P/ACNRXu46b5a4BkCxgnoNxAz+tACwKrandSjBZFSHOen8R/8AQhUzF2vrSBDzLIVZcfw46+3OPzpLSBbeERhmduN8j8s5xjcx9eKlsh/xPIpMgCK3eRvoGX+tAFbxfvl0nUpFk2r9muWZQPvZRgOa4yuq8VyeRpF4GYlW06fgDPzbCR+hrlcUAer+Bv8Ajw1T/sOaj/6VSVv1z/gdgun6oWIA/tzUeSf+nqStu4uEhdIyrvI+SqIMkgdT7D3oAlqnqZ8xI7IH5rltpwcEIOXP5cfjSm/jjlVbiKS2RsBJJcBWb+7wTg/XrRZlLi4lvFbcn+pjI6YU/MR9Tx/wGgC39Bge1FFFABVK+AubmKxIVoyPNmH+yCNo/E/yNXcgDLEADqT2qno+ZLMXT/6y4PmMf5Y9sYoAuUq/eH1pKVfvD60AYemBTpujBo1kBypUjOPlY7vwx+tbnPvXP6FC95Z2376aGK3gCDy2A3O3Lc4yMDaOMdTWp/Z9uwbz/MnZjy0jk8emBgY9sUAWkZXUMjKynoQcilpEVUUKqhVAwABgAUtAEdxEJ4HhZiocYyOoplpJOS8Nyo8xMfOowrg9CPQ8cjt+NT0UANlkSKMySNtUdT6UkqM7J8xCqdxA7kdPwoniSeF4ZBlHUqw9qjkZojbwRbck4+cn7oHPPr0oAW5EbTW/mSMHDkxgHqcHP6U54IXZWeGNmU7gSoyD65qG3BmupLgyMUUmNIyo+Ug4J/HFS3MjRhFjXMkjhV9B3JP0ANAFTU97OjFCEWSMAlupLjt/WromjaZolYM6/eA7fWq2pBY7SJcnAniAycn74q53oAQ7UDNjGeSQOtRWsUSKZI4mjMnzMp65+nSmhrr7QfMWNYRkhlft6EEfyNLaz+a8sZKFkYEbCSCp5U/lQBWv4bhH+1wxm7kQkxxM+1UyOoAGCevJ55p9zuhePURGQQgWdBydnXPHUqc/hmrU0qQqrOcbmCj6mn0AIrKyhlYMpGQR0IpaRFVFCooVR0AHAqG9maFInBAUzIrE+hOP5kCgCSGGOEERoFz1wP8APrTZ3ykkUbDzth2ruweelNc3IuWKqrReX8o3Y+fPQ/pj8abi5c4OxGWTIcrkbPQehoARIXzGskMTR4BYBckP6kk/0zWVdrHJ4tSPzJIWWzO0Jj95lxuGDwe1bKySq379UVAgJkB4LZ6Af561VP8AyMw/68T/AOjBQBbBRYhHEVUL8gBJGO2BVa3QWtuJfOebaCgUMSGJb1Ykk9s1eYBhhgCPQ1FMsCmOSVlRYz8u4gKCePz/AMaAI2YR3UNvEwLHLSjq23HBJ+uKj1aSwiSKW+ulttr/ALqTzNjZPGB659Oain1CVoi9nbNIjHbHMcEOc/wr1PfB4Hvjmqp0yQsr3BM17P8AKXbpDH/Fj3wSB7njgGgCxaT6kIfOWAXcDnMW6QJLs7E8Y549Dg81LHLq8ynNnbWZBHMkxlz+Cgfzq+AFAVRgAYA9BRQBWaK+Zdpu4kB6skGGH0yxH6V5n4rtprb4xWZW6lY3OgsA8gDZKTcjAxgYYV6rXmXxJHlfFLws2SPtdhe2xIOMY2PwfXr+VYYjaL81+dj1sn96pVh3pz/CLl+gSfbLqbyoL5kRSRJJFGFUewzklv0H6VN5Udm1vHBHlppBHLI3zMy7Sx3MeTnbj8atxRpFEscahUUYUAcAUtuqtrFmZP8AVoJJD9QAf5Zrc8kpjTp7JpfsZSHMsnySISjDecHAxg1Zs7aScSpqE0boYz+7RCEJBBBOSSa2LDX8wsGtFYedJu+bvvPtVezuSt758g3INzMnHI9P1oAyNW0tLq3QI3kOjKY5I+nBB2kd1OORUlvcO0hhuIxFMBuADZVxnqP88Zq5LJmaRo18tWJIUdAPSqOryabq2oWscMc9uYnZmdMqpcLggMPr2/oaALJ4GTwKqSalZJJ5azebIeiRKXY/gKjjsImuLhLrddqpRlMr7woI4GOg5UnpUlmu69updoAUrCmPQDJ+nJ/SgBXuHKtusbnyyDk/KTj6A5/rWXGlto9lf6vpst0rxo0ssE0jKhI5OUPAJHfHpW/WO0On6l4wSxurdp/LszI4BIXO4bd+OowDgHI56V0YVz9olH5+m7Mq3Ly3fy9TplYXFpFPsI3IHCntkZxVO7JMEhPJ21pO21RgdwMfjWfcriVY+xf+XNeqcgS/cP4fzpjN++LYJ2/KAO5P+RTp8+U2OD2NJEibVYKMkZz3/OgAw7nnci+gPJqRQFTaOAKKRnWNS8jKiAcsxwAKAFpkzfJtX7zcClkJWLcvPQA9uadbxDeXY7iOrY7elAEm0RQLGOCeo9BUdK7FmLHvSUAY+o+G9JvbwXwhe0vl+7dWkhhlH1K4z+Oaikm8V2EgEkVn4itP7zt9nu1H+8Bsf8QK3aKyqUYVNZLW1jqpYypCKg9Yp3s/6ur9bNGTaa9od1dCzN4dOvzj/Q9RXyXz/ssfkf8AA1fWG5j8SWELRspkjkUqw4ZTtovrGz1CDyb61huYv7sqBh+tczrEN/4TgOraBqckcFuhH9n3QM0BDFRhMnchPHQ49q4auFcFzJ6Ja3/4Y7KLpYmahC6nJ2S6a+d7/g/U7O83Xd3JJGuIk+UMxwoUcDmoS0MR/dgSsP42Hy/gP8fypk00k23zDwBwoGAv0FMrlMRXZnbc7Fj6mkBwaKKALWliP+07ZXUurSYHOBnGRn8q6+uBuZpLeITQyNHIrptKjJzuGBj36fjXfnrQAlFFFAHLa/AYdRdv4ZfnH9az66rWrFr23Xy8eahyue/tXNQws7sG+RE/1jEfd/8Ar0AQabGrPdSS5ESzckdWO1eB70uoKt6Cso2gY2bf+WeOhX0xTUl8yW4VAViWYhFz0+VefqafQBBps7S26vKo8xcpKpGcMOCP89jUzL5ZABzGfunPI9j/AEP9Qaqvm31BXx+6uMKx9HH3T+I4/AVcUjBVhuQ9R/n6D8qAEopoypCsc8ZVv7w/x9f8MUrNtRnOcKpY4GeAMmgB0d1bWr4upliilHlknrz6Dvg4NVp7yCGbyWZmlz8qKhy304q3ZaSwlW/1W4FsxDCOLgsiMQeg7naOSauzagkarHZx42DAlk5fHt6UAZR0rWNS8tFt7e0VZklQXMnMmxg2Cq9iRjvUUkmp22t/YNTs7e3aaFp4vJnMuFDBSCcDnJ9K0rGdo9QindzkONzE5471F44iu7fxFb6jb25u0ktDAY1kClGD5DHP8JBOTyeOlAFPVHSPTbqSR1RFhclmOAODWbe6xY/YgEkaVleMKEU4kYMpKo3RiMjgHjNaH2O0awuLjWlN9ceWzJAvFvCQMjGeXPTkj6AVqfbIG02Gxi02zS1TayRGPKq2c5A7HPNAGYt9amxa8aTy4Uzv3jBQg4KkdQQeMVNpA329zM6tFcTzhJI5AQ8SKMqpB6dc/nVxI9Fn1VdSvNOC3O8SM0R+R3HRmXuR6/T0p/iS4t7S/h1VMizvFWG/ccbQOI5SO23JB/2T7UAZHiNt+h6o2BzZz/8Aotq46uz8TxPBouqxSfeWzmBx0P7tua4ygD0zwPb/AGhdXkuIw0Uet6gsSNyM/aZctj8cfhXSwW9vBnyIIos9diAZ/KsXwN/x4ap/2G9R/wDSqSt+gAIDKVYAg9Qe9UFVdOuuPks5cAKAAsL5Jz7Bs/n9av0jqroUZQysMEEZBFABvTzPL3rvxnbnn8qWqS6TpyJtjtUiOch48q4+jD5v1pTBqAXy1vk2Z++0OZMfXIGffH4UAJcsLucWcal41bNw38OB/B7k9x6dau1Hbwx28KwxLtRRxzn8T6mo7yd0ZbeABriT7oPRV7sfYfqeKALFJJIkKNLIcIg3MfYVTMN7A3mxXD3ZP34pSFH/AAEgcH65z7VVkmvptUSCax2pgSW6ecu1ypGS56jGQQBmgBfB6bPDVk3llHkj8x1PUMxyQfp0/CtasXw5cXSaFaiawdsR/KYZFYMMn+8RitW2uYLhcwyBiB8y9GX6jqKAHxSJIGKEkKxU8dx1p1MVNiMAx5JIJ7ZqIR3K6csRkWW4EYVn6BjjBPt3NAE0UiyAleQDjPY/SnU2JBHEsa5woxzTqAGGT9+IsclSx9qWRlVC7YGB1NOqK68sxiOVWKudpxnjv2+lAC28YjjzsVXc7pMd2PWlkXc8Z2bsNnOcbeDz70O6xkAg7emR65wBUayM2oNECdiRAsPcnj9BQBDrEaSQws65KXERX2O8VdrM1O5PlONoby7mIABxnbuGT1+v5Vp0AMkV2ljZXIVSdy9mGP8AHFVIFaPUpUXOxsNtHQcH8uauSPsAOCckAAe9NihjjlkkUHfIQWJPXHSgBk+JbhLdo9ybS7bl4OOgz65wanoooAZPKkEDzSEhEUscDJqhOL65eG5SHy4oSXEEhw8pxxnsMdQPXGcdKluFW51JLaXmOFFn2/3m3EDPsMZ+pHpV2gCK1uI7mIyR7hhirKy4ZWHUEUskypPFDtYtJkjA4AHUn8xTWUwiaSMF2kYEL74A/wDr1XtorhJGUXfnMT+8ZhwvPRR649/woALuRYZZI7pneG4I8sAfcwvI456jOfU1UtvNGrQBctJ/Z3WQYP3xyRk/lmtOeSeNv3cJdAuTg8k9lA/rWZYxzDxG0twFE8lmd4XoMOAAP896ANaISBB5rIz92VdoP4ZOPzqGWFncIbgEbt+wgH5eOP0/WrNZq2UUd9FNJI7XTKxaTJxgdhzx978vfmgCxa+askcTSb/LhIkx03ZGP0zVqqlnIk1vKLYjcGKlnU/MQANxHBP9aigN9YWyLdEXkaDDSxrtdR6lSTke4OfY0AaFFIjLIiujBlYZVgcgj1paACvNfi+pj8ZeBbzoBe3EGe/zxdP0r0qvOPjP/wAhjwP/ANhlv/RRrnxX8P5r80exkX++W7xqL76ci9SyiNI4RuBmdi20fwoARk/UnA+hp9tEZ50iBxuPJ9B3NVo5ku557yP/AFcj7YgO0afKv8ifxroPHGWH+qk/67Sf+hmrX3Y/dj+gqrYf6qT/AK7Sf+hmrcn+rj/3Sf1P+FAFO+3sIYkkMfmShSw6gAFiB9cY/Gqd7lZ4mthtisCGdV6NkYK/gp3flVm5kVtQtoQRuj3TPzyq7So/Mt+lQov/ABJZpSu1plaVh/vc/wAsUAXdM3JqWqTLgg28Uf0IY5/Rh+dSxRRhSseEJJYg9CSc9abpTL5mpsDlfLRf+B5XP6badQBBcXHkSBXhmII4ZE3c+mByDVGG7n0u6nv7jRbt5LtU8t4UD7IxkfNznr2ANbUMkYk3SICccHtn1I702dpGlLStuY9/b2rSlUdOakROHPGxn3TarcW0M1nemCbO/ZPHlcEdCAcjrSvqyvDawTQr/aL3Mdv5PJDFmxnIH3cZOfSrlNCqJlmCr5iHKvj5l+h7V0xxs09VdGTw66PUl8eWEWkRw69DeS2tlDIkd3bKjOkis20NgcggsPwHtTlKMgaNlZenynOD6U7UNUun02W3n2TxvtVg45I3DuKxxpwsJ5LjSN0e4bWtpJMxkZyMcZBHIBOadDFWXLUfoFSjreJr1wfx18C3/wAQvAb+H9N1YaZP9oSYO+7y5AufkbHOOc/UCus0fVFv/MiktprS6hP7yGUcgdmB6MD6itCu6cE1ys54y6o5z4ceH7jwp4K0Xw5eak+ozWMHlvcNn94c5wM84GcD2Arpn4UKvTufU01jtjX1L8flSDihKwBQOtFFMDxv4a+Evixpfxi1rWPE3iSS78NS+b9nhN4ZFkBb90Fi/wCWe0denTv1r2QUv14oP6VMIqKsht3dwJ7VzHj9DPFpFp/DPqcCsD3Abd/7Ln8K6auZ8UK8ni7wupP7kTXDkZ6uIjt/mazrycabadjsy+KlXV1eyb+5N/odAetFFFeQWFFFFACrBNMjmDIeJTKH/uleQf0ruBXF3UmLOOxicgTAyXRXIJXoqZ9+Sfb61o+HdUaF0068fKHC20p657I3v6Hv069QDo6KKKACuS1idZb6ZYuI9/QdC3Qmul1KZoLKR41ZnxhQBnk1yBjkH3o3H1U0AVbT/WXP/XY/+grViq9r/rLn/rt/7KtPVrm5klhsLWS4kT5WcACONv8AaJI9QTigAuolmtnjZtoYcN/dPY/gabpsj3MQQjdOh2SKvJ3Dvj36j61ZTSdMtyZb6b7dcn723kfTPQD2Apk0dsfltbVLIdzbsUZh6MwIJoAszQLZw/aL6aGED7sbnLFj04Hf+fT3FW41G8mYxWCx2sMg/wBZG3ykdwO5PYg4xUNvp0P2pZI1leXJILzO3JGCeTjOO9W59hcRhi0aAqcDG45B3A+2MD+oJFAEMUaRRiONdqL0HpT6b0IVjknlTjG4ev8A9btTqAJbOVIblJZIhKqnO0nrTtQuTd3bzHIB+6D2FQUUAQX/APx4XH/XJ/5GpIf9Un+6P5VHf/8AHhcf9cn/AJGprdWaJNoz8oyfTigB6Acs33R1Hr7VHOqzxvHModJFKsp6EHjFSOcAIDkDk49abQBkvczXXhfV9LvmY6jY2c+x263EGxtjD1IHFcxW744Ux6Wb5G2NFHNG3+0jxMCPz2n8KwsUAej+C9QuV/tm0j0yaUx6zfuHEsYDKbqTkAkHqCPwroPtl/8A9AW4/wC/8X/xVYXgdmW+1JTgrLqOpY9il7Jn8/MH5GusoAofbL//AKAtx/3/AIv/AIqj7Zf/APQFuP8Av/F/8VV+igCh9sv/APoC3H/f+L/4qj7Zf/8AQFuP+/8AF/8AFVfooAx9T1LUobb91o84lkdY0/fRE5ZgCQN3OBk/hT7Vrm2B8vRLku2N8jXERZ8ep3e5/OrUC+bqVxNIo/cgRR55IyNxP45H5VboAofbL/8A6Atx/wB/4v8A4qqeqTXri3mOj3aNDMpDJcxAgH5T/Fz16HjgVt0FVcbHUMrcEEZBFAHNeGLnWo9KtEfS2ng8oYfzolcdeo3YP6Vbu2mmuY3k8O3LyMpTzVuIwUUc9Q2RzVvw7/yArP8A65j+dX6AM57m+dAraLcEAg/8fEXOP+BU77Zf/wDQGuP+/wDF/wDFVfooAofbL/8A6Atx/wB/4v8A4qj7Zf8A/QFuP+/8X/xVX6KAKH2y/wD+gLcf9/4v/iqPtl//ANAW4/7/AMX/AMVV+kY7VLHOAOwoAxp7vU7VRLFotzJEgOY/tMXGTktncc4GeKdHeXNvA92+jTZZA0jieLnA/wB79PetaRmVQVUsSwH0yetNn2YTzACN46+vb9aAOI8U6bZS3Sahq/h+6aS4mSAul8qrjkLlVbHQtye9WNRPj6S6hubA2VuqwlGhutoR5C7c4VmPClP4uSp6Zrp9YVXtY1fp58XfH8Yq0wYyLwhQdc9c+1AHJrb+PIVkk87SbqXDCJZAQE+bAJPfjk8e1WU/4TZL+1Z20ya0M3+kqsZD+Xg/d+bAOcHPPHaulooA43S7fx+l/bf2hc2T2Vu6GRYwBLcDy235JJHL7cDC4A59K6T7Zf8A/QFuP+/8X/xVXqgvpXhtWaIKZThYwehYnAoAzNPu9QklnvDpFyyzMBEDPEMIox/e7ncfxq39sv8A/oC3H/f+L/4qrlvEsECQryEUKD60+gCh9svv+gNP/wCBEX/xVNa+u4ULHRZlXPaeLqT/AL3rUvzQJEskn7yacFmHTqTj6YGB+FW3VXG1hkZBx9DmgCgl7qBUFtEuFPp9oi4/8erNnutSbxEnl6TOG+y8j7RFyvmDP8VbPnuwgZNpDSMrbfmHGR1HTkDP5VRi8yHXI/OZ5XFidxUZJPmD9KAJLm41CWEoNIulOQQVuYgeCD13e35VHf3epPCYYtGnDyAjd50XA7/xf4Vqwszxq7IUJ52nqPrUZt1EbiNmjd1I8zOWXPpmgDNtLi+US/8AEolEzMDJsuIsKcDAxu9MVYa+vkUs2jzqBySbiLj/AMeq5H8khiWHYuNwYdCe/wCNGGkBSWNCjBg3Ocjt+YzQBj/ar7T2eRdGufsZ+ZkE0R8o56j5vu+o7dfWrkd/eSIskekTOjDIZbiEgj/vqrzh8KI8DDDP+7nn9KqiCe3uJHtViaGT5miYldreqkAjnv8AT3oAZ9sv/wDoC3H/AH/i/wDiq88+MlzdnUvBckmmTR7dZwoMsZ3kxkYGG4/GvRX1BYRm7t57cD7zld0a+5YcAe5x74rh/i86Ta54DhQJKX1sSgZ+VlWMk8jtzXPiv4fzX5o9jIv99X+Gf/pEiS5vr6z0ae4TSphPKhWImaPAHfjd3OB+dVraS6t7eOFdLmwigf62Pn3+9Wnq7W19qFvbRTCJeX8uQYG1CMAEf7RB596dNBLDzIhCnow5U/Q9K6DxzHsbq78p/wDiVzH99J/y1j/vn/ap9/e30dvmPS5lY7VBMsZxuIGcbverNh/qpP8ArtJ/6GaJgbjUXB/1FvhNv9+TCnP4dPrn2oAytP8AtStPcnS7hpH3IGM0eSAcZPPUkfTGAKsWN1cS6dCv9lyuhiCn97Hg8YI+9WrUc7PHBI0Ue91UlV6bjjgfnQBk+G7m/TSbjzNNlYtcsgxMnRfq30/HNXftV5/0C5/+/wBH/wDFVNZ2TWMXksT82JOTzllBP65qegCl9qvP+gXP/wB/o/8A4qn/AGq8aL/kFT5T/prH0/76/wA5q1Sq2056+oPegCj9qvP+gXP/AN/o/wD4qj7Vef8AQLn/AO/0f/xVX5AFc46dR9KbQBmXt1d/Zm/4lcw5X/lrH/eH+1U5urzP/IKn/wC/0f8A8VUt/wD8erfVf/QhUWo6glrIIVt7m6nZdyxQR7mxnGT6DPc1UYuTUVuKUlFXZS+3Xh8T2Nt/Z8savBKzkyKeBjB4Pr/OtsyFQGkiYLnA+YZJ9qTTFkRDfXsKwylNgUHJHOSB+n5UsbGU+cRtB+6voK9elDkgo9ThlLmk2N8yWRw5t2CgYUbhTt8n/PBv++hUlFaCI/Mk/wCeLf8AfQpd79RC3/fQ/wAafQOtAEe+T/ni3/fQo3yf88G/76FSUUAR75P+eDf99CuY8UTXK+L/AAyUtXdQ11lQyjJ8r1J+tdXXM+JHYeNfDEePlJumJ9xF/wDXrDEpuk7L+v62O7LmlX1dvdlt/hf57PyNP7Vef9Auf/v9H/8AFUfarz/oFz/9/o//AIqrtFeSUUvtV5/0C5/+/wBH/wDFUfarz/oFz/8Af6P/AOKq7TowGb5ug5P0oAzLO4vZHuW/sufAlIJaaPjCjA+9U5uJtvzaXcu2QV2zRqAQc5zuzT9LaW+vb+OMriMgxwhcbeoYA924DY6/NU9AGrpfiK6kTy7rTJRIP4jNEoI/76rVW9vmGV0ecj1FxF/8VXK06OSSM7o5HQ+qtigDoNS1G/hsZpP7InU7SAfPi6n/AIFXMLrGsKeLS8/8CI//AIqrU9xPOFE0zyBemT0qWzgQJ9queIFPC95D6D/GgDOj1fWVguJ5LCXD3HlxlmhYs21emTzgDJ+lPuL68WFIYNJmitMfIiSxgH1LfNy3rmq9pO17f31yzKY0uGjgRTxGAqhgPxGPwq/C6jKSZMbdfY+tAGf9qvP+gVP/AN/o/wD4qj7Vef8AQLn/AO/0f/xVX3jZJPLIye2Oc+mKnCx2ufORZZSP9Wei/XHf2oApC6vYLTd/ZU4eccHzo+E7/wAXc/yqt9qvP+gXP/3+j/8Aiq0ruUTTmRVKLgALnO0AdB7VFQBTF3dEbW0mcrnPE0YI9wc8Gmi7vBgNpcxznBEsfOO33uD3x71epCO+FPIJDdGwc4P+c0AU/tV5/wBAuf8A7/R//FUfarz/AKBc/wD3+j/+Kq0CVBJyVyc56r9fUe4/HFNsHM01zuO5Yn5UdQuBj8z/ADoAp3c99JZ3CLpM5PlP/wAtY+Bg8/eqRby7MSKulT7Aox++j546/eqxqLsdPuFzhfKfgdOhqqJ5rmPybMBVC7WuG6Kcc7R3P6UAO+1Xn/QKn/7/AEf/AMVR9qvP+gXP/wB/o/8A4qnNbzRRRtBM8kqY3mVj+9AGDnHAPfgdaltLiO5hEkZ/3l7qe4I7GgDG8Ume78M6pbzaXMEezmy3mx/L8h569qw9x9q63X/+Rf1P/rym/wDRbVyFAHqXgOCNYdXuMEyPreoLknOALqTgeg7/AFrpK53wZLHDperSzSLHGut6iWZjgD/SpK0Zry/KK1vYxhXA2+dMVcZ77Ap45HUj8KANGiqv2e78vd9ufzcdDGuzP0xnH40+1uPNLRSJ5U6Ab0znj1B7igCeoL65W1h8wjc7MEjTOC7E4A/z2yamdlRGdjhVBJPtVSxhMkj308YEsmPLBGTHH2H1PU/X2oAlsbf7PCAzeZMwBlkPV2/w9PQVPRRQAUq/eH1pKVfvD60AZ/h3/kBWf/XMfzq/VDw7/wAgKz/65j+dX6ACo7maO3geeU4RBlj6CpKivIFubSa3cArKhQ56cigCWiobGYT2cUmCpK4ZT1VhwQfcEGpqACmlFMgkOdwBA54FOooAKKKKAKGrRu0cbNINgniwoQf3xzk1fqrqn/HvH/13j/8AQxVqgAooooAKp3h8zUbKDG4AtMwxwNowpP4nj/61XKpy7rfUhcbcxTqsLEYyrbjtP05NAFymSSxx7fMkRC7bVDHG4+g9aZfTG3s5pwATGhb5un4+1MtbSON/Pc+dcMPmmYc49B/dHsKALBVWIyoODkZHSmCYGeSLgbFDEk+v9OKcroxO1gcNtOD0PpVa/wB00sVkGZVlDGUr12DtntkkD86ALFu8UkQkhIKNyCBgH3qizKviZdxAzZED3PmCrkplWWBY1TyySHz1A2nGPxxVNlVvE6EgErZEj2O8D+tAGgzBVLHOB6DNJ5i+UZOcc9Rj+dOPAJqNf39v86sm4YZe49RQAloztFuckgnKE9cH1+nIqWoruYQxbmjeQE42rjPQ+v0pIWj+yKyZSPbx7CgCSV1jjaRt21Rk4Uk/kKVWVlDKcqRkH1FUrAPFtDTtLFMzbNyksD15PQcA1Ziba3klcbR8uBxt5x+goAbcNKJ4VSTy0+ZnOzIIGOM9up/KvL/iGQvxJ8Ji1DXcEUN9drFHjKEqqZBJwRkk49c16hqEfnWM0e5VyvVhkcc8+1eZa7HEPjDbQwKVjs/DqqAe26Y/r0rnxGqivNfnf9D18nfLUq1O1Of4xcf/AG40LWGRrg3lwmyUr5aJuzsTr19Sefyq9DNLCcxuVz1HY/UUygckAdTXQeQLYzRtBJMYVSRZ5NrJwCd57dKkQW77ty+TI7Fi6j5SSecjt+H5VVtT+7dB0WaQfU7zzUtAD5InjGWGVPRhyD+NR1NbGbeVhVnJ6oBkH6ipbm3iinZWmVB/cHzMOOnp+tADdQz9oGf+eUf/AKCKr1Z1XH259ucbVx9NoqtQAU5VBG5vuj9fam0+JfMHlr9/JK+/qP0oAa7FmLHvSUUUAQX/APx6t9V/9CFVDb6rBrM95Y3VpHHMqq4lhLsdvTGCMd+/erd//wAerfVf/QhVbVpXkurTTIZXjku5DvdOqRKMu3t2GfUitqDmpr2a1M6ijy+9sWtLv21OGWZwC1vcSW5ZRhWK4+Yfn+hqzF8pZOwPH0NOtYYbG1itbSNYoI1+VB0AouVVZ0ccA8D8f/1V67t0OJX6i1Su9W0qz1C20+71Kzt7y6z9nt5JlWSX/dUnJ/CrteV/EX4M6f4y+J2jeNp9bu7RtP8AK8y2RARJ5T7k2tn5OTzwfzqZNrZFK3U9UooPJzQOoqhBRTi3P3V/Kk3f7K/lQAlc5r++Txt4Zt44y7H7U/HoIv8A69dLu/2VrL8GTHVfiFd36oBbafFJYQnH3pfkaVh9Mqv51zYu3sndXO/L24VJTTtaL/FctvxL0iPGdsiMh9GGKbXZ3ltDdxGOZQfQ91PtXIXML287wyDDKcfX3ryxkEsixRPK5wiKWY46Adai0+6mnSbzLYwDK7cvkkEZwcdD09eoq9bafNqCvEkW+NgVctwuCOhqrb262kQt1dpNmQXb7zn1PvQBICQQQSCOhFXNyX33ysdz2Y8CT6+h9+9U6KAFdWRyjqVYdQRyKSrSTJcIIrpsMBhJu49m9R/KpEtFth518AU/gjVuZf8A7H3oArrGkNv9ruUlaLOEjQfNKfQeg9zxVO5uNR1Bw0iR2ceMBQ25lHoB0H15q1czyXEm+QjpgAdFHoKjoAztCjiiiukgQpELlgoPsFBP4kE/jWjVHSUaP7ZGTkLctt+hCkD8M4/CtCNGkkEaDLE8CgCe0k2qzMPmhUtGfQnjH5nNVquyiJNMZY8N++UM/wDeIBJx7ciqVABRUvlKoXzJQjMAQNpOB70yVGjkaNvvKcGgBtFFV5rYvIzpcTwlhhthGD78g4P0oAmkKqhZ2CqvJYnGPfPaq4m094tryTL5wU/aYUZeAeMsBt69c8evrSLZD5RNcXE6KchJGGM9s4Az+NXpFYyiNVOQAoAH6UAZPiK2NvpVw1xeTvGYmEYDBPMYqcKSMEn2q9aosdtFGqhVVAAB2GKkvLe20/T5UWGKSQQOrLsB8tcEhQfYk8ZGOx7VNHAJIUe3O4ED5e4OOnv/ADoAiqtcQy/aFubby/M27HV8gOv1Hcf1NWaZPKkMLzSHCRqWY+gHWgDN1C5+1+HNWZYyrJb3EbLnPzKjA8jrXL12OoRnT/CGoptCXU9ncSy4/gDoxx9TnmuOoA9U8Fxxy2Go+YobZr2oOufUXUmDWhcq1zOIWt3jzKd7ZHzIFIDfTOOKpeBv+PDVP+w5qP8A6VSVtyqxw8aoZBwC3oetAEdnGUkmZZBJDIwdDxwe447cCi9tRcoNsskEq/cmjxvQHGcZBHOKnRVRAqKFUdAOgpaAKWrWIvLZgrOJQvyfvWCE9cMoOCD0OQetXV+6Pl28dPSsm61W4XWIrKzsWuogwW4kU48onv6YH+enOtQAUUUUAFKv3h9aSlX7w+tAGf4d/wCQFZ/9cx/Or9UPDv8AyArP/rmP51foAKKKKAKShk1dlhQiNk3T84G4/dYep4IP4GrtUIHSGS9vrhtmZREAOflU4XAHJJLHj3xU1tf2s83kLLtnwSYXBVwPoaALNFFFABTRIhkMYdS6gErnkA9DVaS4knkMFkRwcSTkZVD6D+836Dv6VNa28dvFsj3HJ3MzHLMfUnuaAItU/wCPeP8A67x/+hirVVdU/wCPeP8A67x/+hirVABRRRQAU2WNJY2jkRXRhgqwyDTqKAM29MmnxyTfNc2hVU+zk5dewC5+9nI4PPv2q5YRyw2NvDO++VIlV29WA5NQzsJNUhhZlURr5yju7crgewGSfqKuUAMeGOQruX7rbgQSMHGM8exNVbBh9me+mAV5NzMc52oCcD8BU95Mbe3aRV3vwEX+8x4A/Okht1WyW1lw42bXxwDnrj0oAhRDePFdLK0YRgQo9RuBBz2OetVrlg3iUW6yFJJNPbaQCcYkHNakrrFC0jNgKuck1lW0iy+J9+f3g08BwDwDvB6fjQBkx6D4ghWWG78TXeowTyhhuhVWiHLY+XGRuwBnsADnnLLTw34nTzre68XXc8MkYAmACyxvuU8YAGMDHTjJ+tdVczeXH8m0vuCgHufSsnXPEmn6HdbdVkkiR1zF5cZkyoIGTtGQcn6cHmgCLRdN1XT9Nks9T1641O7lIeKeRBuUqoyPlAGMgnGB1/Gt+MxyQqVCmNlBAxxjtXPapf6xcWtje6LawXaSZnRN+1zGYxs3bsbckkHrjj8KRvvH8REMWh6O0akqpErj5R04z3+vf25AOpgTy5pFVx5Qx+7AHyHqcfXr+NGniZbKEXEgll25ZwMZz0/TFcpql74t0+8mk03SoL+3nmG44y0Slc5wGG/DHHbIOcjbg9UpddPj87MchjVW287WOBx680AF0p3+Zuymwo8ZJw2SAD7Y5/OvM55Bc/GTxNKORa2Nnb5PYkM5FemzRSeaJIm+c7U6Dhd2SfyryjwxIuoeMvGWtwfNaXWpLDC/Z/JjCMR7ZzXPW1nBef6M9fLly4XFVH/Il83OGn3J/czpamtHSKUTSRCVV42E4yTUNPk+XEf93r9a6DyBbOXTmif/AEadf30n3XGPvn1FWHubMRFYrBS3993Jx+ArLsP9VJ/12k/9DNWKALltPNI22SQiCMF2VQFBA7cepwKpTL54ZZMtv684Jqyf3ViB/FM2f+Aj/wCv/Kq0c0a3cUbNhj8+MfwgjP8AMUAMMsi301pO7ySx9JGx+8UHAPHfjmpKi1C3l+2tcQsFnXKkOPlcZzg9x9f5021uRMWjZGimUDfG3Ue4Pce9AE9OjyAz5xgYH1P+TTQCSAOppzkcKvKjv6+9ADaKKjuBugkXcFypGT7igDPvrm9uY/L02xE0Zbm4llCRjBHTGS35Y960re1VLhrmQK1wy7N4HRc52j2zVHwvHPD4atILpGSaIFHVmyRhz3+mK2E/1g+tezClCnpHfv3OBzlPV/d2CT/WN9aWRVkthubbtYDOM8Zph5OaeT/ozDtuGa0EGwdpEP6UeW/YZ+hzTKKAFKsOqkfhSU4Ow6MfzpfNfuQfqKAGnrSU8uG6oopNy/3B+ZoArahcrZ2FxduCVgiaQgd8AmnfDNbddE0RoFy89vNczvtxvlkKux/UD8K53xPImuasvhWPIgVFuNSZT0jz8sWfViOfYGuk0u/jsNas4pMJAY5FGOAp+UDH+FebjJ3ny66frY9SnH2WHSuryd/NJXS+++3o+x21Vryyt7wKZFBKkEMPTPT6VVuNatUvobK3DXdxKCwWLkKMHlj2GRiuc1PQ7CMW19N9vg1ElZfJW9bZERg4O3AYAgdev4nPIZmpa6kbfz7PyNmWYRhD9wnt7/WscVRsNB0yJmiSO4KSsCwe5d8YJbjcTwSSSP8AAVatIVt7aOBGdlRQoLtkke570AS06NHkcJGpZj0AHJohjeaVYo13OxwBXRQQQ6NZSTuweVhj6n0FAGf9jh0+Lzr4LJKw+SAH9SazppZJn3yNuOMD2HoKLiaSeZpZWLO3U0ygAoopVVmYKqlmJwAO9AFexQtNcKiks0/AA6natX5WWFPJiYFzkSOO/wDsj2qGErbG6hjIMplxI4PA+VflH9TTaALM3Gm249Xcn68VFbxhyWfiJeXP9Pqas2crfYZo02b4z5i7kDfL0br+BqtNNLMQZGzjoAAAPwHFADJGLuWPUmppv3+x0GWCBWUdeBjNQUDrx1oADwcHg0VOryKf3zBh0Kv8x/8ArfpRB5LXSKIvkZwMM3bNAEcG3zV3cKOSfSpfMWBAsLBpSfmlHYY6D/GoXd2yDgewAA/Sm0AQX/8Ax4XH/XJ/5GprZmSONlODtH4/41Df/wDHhcf9cn/kakh/1Sf7o/lQBMreZsST/WbQu/8Av4zyf9o/rgdOhkuIYY7N4pVWSSdCMdQqnjPuTUUUbTSCNF3Fu1TySQq3kOxljA/1vTn/AA9+/f1oAwdQmefwtqDSkmZbKZZd3UOIznP8/wAa5eup8TRPZ2OpZBMFzZTbXB48wRNwfTKgflXLUAer+Bv+PDVP+w5qP/pVJW/WB4G/48NU/wCw5qP/AKVSVv0ABIAJJAA6k1l69f3FvpEt1pnkzyJ8xBccJ/ERzyR6VpsqspVhlSMEe1cVe2lwmoLp8aESyPwe23PX/Pv6UAT+GZrqymury6iuGtrgKwcnILZxgDoTjqeDxXXKdyhhnn1GK5+98KWtwlmI9QvrN7VGVXt5NpYttyTnPPy4/E1N/wAI6o8kR6xrEaRkZQXbYcAAYOeQOO2O9AG2SACTwB1JpFZWGVYMPY5rm9Vtv7OieFLy8mFy4bZNKXEYUHhc+pOT9KPDSq12/UOq5UjtzzQB0tKv3h9aSlX7w+tAGf4d/wCQFZ/9cx/Or9UPDv8AyArP/rmP51foAKr3k0qNFDAoM0pO0t91AByx/wA9SKsVS0td5nuHAaQzSIJPVAx2gewHHuRnnrQBF/ZqwRNNC009wrNKBLKdryHPJHQdeMdKkntZrgKftDBlXIb+7IDwR7YLA+oNXqppcSwJO99tVFlIhI5aRTyOPXnGOelAFtmCoWkZVAGWJOAKpBpr8/Jvhs/73R5h7f3V9+p+nNOigluJGmvARGdvl2xIITGeWx1Jz05AwKuUANijSKNY40VEUYVVGABTqKKAKuqf8e8f/XeP/wBDFWqq6p/x7x/9d4//AEMVaoAKKKKACiiigCK6t47lAsmQVO5HU4ZD6g9qbYSSTWcUkuPMK4fHTcODj2yDUzMFUsxAUDJJ7CsvSvtVzb27PHNaQ7Wd0b5WkLZOPUAZ68HIHagCyW+13qBAWggYszZwGkHAA9cc57ZxRM00Mly8k2y3YKUfALKx4wB35xxjvVqGOOGJYokCIowqjsKjvHSKNZJNuBIg+Y4AywGfwzmgAunWK3/eRtMDhWCpuznjoM8VUx/xUw/68T/6MFWNRne3hSREdiZVUhRng+vtUB/5GYf9eJ/9GCgCZNkaxeZK826QlX7ZOfTtUrNMLpAsKmPBDSEjI44wPrSCERqkcJ2IDyCx5GPzqFlmhukHnzTiaQja2AI1wTngZ7Ac+tACpDP54bCxxmQuwBGTjgdByD15q3TFlUzvDwGXBAzyc+1VopHM5ZIwyySFWbJ+UAAAD9f1oAtoqooVVCqBgAdAKZMrNJEFYgBtzY7jB4/X9KasUwvWmNyxhK4EO0YB45z17frUjMgBy4GOvPSgDD8dS65D4W1WTw/am51H7KVtowwHzngtzxwOa808Ea94etdNsfDyzS6feQRKn2a/jMMrseSRu4bJJPBOc17HEGksx13SJzn1IrNu9F0fxBolvb61pVrexGJRsnjDFeOx6j6jFYTpz5+eD121/rT8T1MLjMOsO8LiIPlb5rxet7WV09JJa2XuvV6mDFwxfHCjP+FMPWsD4l+G7rwj4am1/wAJ6xPYWenIsk2mTFp4ZwGA4ZyWU89jj6Vp6dcSXTNPkCLaqqoH8WMsf1A/A1UKrlJwkrNGeKwMaVGGIpz5oSbWzTTVrprbZp6NrzJLD/VSf9dpP/QzVqJGklWNfvMQBVWw/wBVJ/12k/8AQzWhaDZFNc9Ng2p/vH/62a1PPG3jK1wQhyifIh9QOM1nX+6N7e4U/ckCsMfeVvl/mQfwq3VXUQ2yGQAlY5lZwBnK8j9CQfwoA1Vja9iLJ81xGPmXu6+v1FUNR0+8ZI7iOBlkhcMrMpAI/iUnHAI/pV2XFrGYVYGZvvupyAP7oP8AOoY5ZY23RyOh9jigCK0lElsk+1kaRThTjIHIP9aUkAEngCmWd5OUeymkjdoWwuUXJU8g9PcjPqDV6eztdS04I6CDbIokVWJ89e4IPIHTpWlKHPNRuTOXLFsqyWeoPcR+VJbRW+AXZgWc+wHAH1q1caXp9xNHLPbLKY/uBySoPrjoT71cAAAAAAHAAor16cI07cqs116nDJuV+bUzJ9qTTKxwWlGABk/Nj+tOjljMqhZASxIGM9efy6U3UZQZ2RrZjsxiUE5HfjHsD+NVYpY4YlHkSHGDkDqe/wDP+dUBdpzHFrKv9/Cj8aaOnTHtSSFfLCkEneMY/wA+1AC0U/KYxtI980m3P3WB9uhoAbRQaKAClb7x+tJWb4l1b+yNPjnWB7ieedLa3jUgbpX4UEnoM96Tdk2XTpyqTUI7sy/CflT6j4g1CMcz6iYs46iJFT+e6tC8giuNZsBJGHKLI6Z7MNuDTPDGnPpWjRWszI07O80zJnBkdizYzyeTjPtVq4ymrWn94xS/gPlrxG1Jtrr3PUxMk6rtbSy020Vr/Oxfima3nWSBsMn8WOvr+FNuZpLidppDlmP5e1R0UjA0dH8lbe8kZf3qREqT2HQ/0rNq3YhCHjkfYZl2IewOQefbtVaRGjdkdSrKcEHtQBLYQzT3cccGQ+c7v7vvVjWrw3V2VVsxRnCe/qaltz9i0drgcT3B2xnuF7msygAoopGKqpZmCqBkknAFACjk4HJqyWFopVcG4IIZgfuD0Hv61EZre1g3tcQiVjwxkGIxgk8+uAfpiq6zQs21Zo2JOMBgTn/INAEdp/rLn/rt/wCyrViq9p/rLn/rsf8A0FasUAPt5WhmEi4OOoPcHqKddxpHIPLJKOodc9QD2qKrVwuIbeUjgxYH1DEUAV1Xjcx2r+p+lG/GQg2j17mmkknJOTRQAU+3JFxGR13jH50yprVgglk25ZFyv+ycjn8KAIn++x9zSUUUAQX/APx4XH/XJ/5GpIf9Un+6P5U28R3sbnYjN+6foM9jVqC38uKNrlgg2j5M5ZvbHb8aAHx/urN5N2HkOxR/s/xH+Q/Oq9Pnk8x8hQqjhVHRRnpTKAMnxQzw6HdFFjZPJmyjDpmJ+V9Dk59OtcvXR6zEbjRNZFyzOYYpzHtYqFHlZHQ89e9c7QB6T4UuLyK01Mxxwxwf29qCtLJliM3MmGwO2cDk+9dTbzRzR7o5FkAO0svTI61h+B+dP1QEZH9t6j/6VSV0HbHagBk8scELzSNtRBkms3RYnuJn1a4XEkoxEp/gT/6//wBfvSaoGv8AUodNUkQoPNuOvI7L/n19q1gAAAAAB0AoAKKKKAM3X7Jrq3WSPmSLJx6jvWd4Ymjju3jYHfIMKfpyRXR1z2tWTWc4vrUlV3ZOP4W/woA6GlX7w+tZukXc147StGUQIFPoWz1FaS/eH1oAz/Dv/ICs/wDrmP51fqh4d/5AVn/1zH86v0AAqtpwZIpIS2RHKyrxyB1H86snODtxntnpmqei86bESVMh3eaV/wCemTv/APHs0AW2ZVUszBVAySegFU7GMzN9vnU+Y+fJU/8ALNO34kck++O1JIft8jQoT9lRsSsP+WjD+Ae3r+XrV6gAooooAKKjjmWSSSNc7oyA34jNSUAVdU/494/+u8f/AKGKtVV1T/j3j/67x/8AoYq1QAUUVDfSNDZyyLwwU7T7ngfrQBNRSRhgiiQgvgbiBwT3xXOpqPixFk8zw/BMfl2FbhUySOcgk8A55zzxxQBuagsT2Fwk7mOJo2DsOwI5pbR3+wwSXCiGQxpvUnhWIHH58VzN7qniKRFFx4dSIJIQN1yCjSBSY8+xfb7DPPSnWl3r13cTXk+hQTxiX/QGE4C+XniQ5PBIOc4zxigDqqZLDHIyNIu7bnAPTn1HemWbXD2yNdRLFMc7kVtwHPGD9MGpQylyoPzDGR6UAV7qSdbq3jh24Ykykj+EenvkioP+ZmH/AF4n/wBGCrizIbhoM/OoBIyO/wCtU/8AmZh/14n/ANGCgC1A63EKzNDyCSoIz9CD9KfBIJolkClQ3Y4z+lPooAqwnde3aBl6LyHJZeOPlPA+o609Ldkj2rczBvmyxIOS3fkdu1T0UAV1kaJwk8yPK4OxFXbnHp+YqWJCqYc7mJyxI71SvtS0bTJma+1CztJdqkmeYKcMSB1PQkHgelVJfEGg3SQRx67YbLtAYwJRukBYKNvPckAeueKANa6nW3i8xgzHOFVRks3YCkso3itUWTHmcs+OgYnJx+JrE8R6s+narZRW9rJO3CiNBksGODtGRlgAMfU1u20ongSZUkQOoIV12sPqO1AHO/FPS7rW/AGraPZbPtV5EsUIc4BcupAz+FcDaX3ivQ7OGx1TwDq7iFAnm6fKl0HI6tgYbk/zr1eP/TL0TA5t7ckR+jydC30HI+pNSeW0TSXBTzp2G1VVsZUEkDk4BGeTWM6LcueMrP5Hp4bMYU6H1etSU43bV3JNNpJ2aa7LdM8itPE+oxxO8ngXxYsPmOzSfYc7RuOcrnPH0rq9F1fSdZ0CyvtPmlnt5dz8IUO7OMHPTGMdKzPHHiS881vCnhuWOTXrxplu5VJKafCXYF29GwTtX1OasaHptro+kW2l2S7YLeMIuep9Sfcnms6Upuo43ul5df63OrMKWFjhIVFT9nOTulzN3hrq09ru3L3Sbts3p7rU5zDKvoRID/SppGS1jQQBvMlTcXbGVB7D0+tVFVnYKoJYnAA9at3U9u8ojaEMkYCK6NhiB+n6V1HhGKFexf8Adq72h6ooyYj6gdSvt27cVbikjljWSNw6N0YHg1aMcLn9zNg/3ZeP16fyqhZq0XnQSLsljlfep7bmLA/iCDQA66ht5kJuI0ZVB+Zuqjvg9RVnRLPy0S8kkd5HhCIH5KJktgnuTkZ+g9KzbqMataXVpb3Sxpt8t2AyxJ/kMZ+v0rY02NbeKO2hXEMahVHoAOK9LB03BOb66fI5K8lJqJdoopkrbYy35V1mRFdThUKryePw5qnuZLgqWJV8svse9Ok+4fw/nRKm8dcEHKn0NAHlZ+NFkPjkPhj/AGDd7jJ5H27zB/rNm/7mPuY/iz74r1ZV3bpD90fKPc1SOlWf9pf2w2h2z6p5XlC7SOPzSn93eRuA9s1yeq+J/HVhI8z+ErW10qJ/3k9xKWKqTyx2EnHPYGs+bkTc3td/I6sPhZ4mSjStdtLdbs7miuUl1HxuFjuLfSdBu4WAO2G8cMwPcMwx0rS0LX49RvJNOubO407UYo/Ma2nAyyZxuRhkMM+lTDEU525XuVVwNWmpN2ajvZp/8E2gx78j0NKAGztyD6eteWTfGbSY/javwxOj3pnLiE3u4bRKY94Gzrtx/Fn8Mc16kDgg+laRkpbHI01uJXO/EFR/YCTq3+k293DNaJjPmzhxsTHuTiuglY7yseCfXsK5zUyNQ8XWGnIzOmm/6dcNno5BWIfX7zf8BrOvJRpu9/l56HZl6f1iMlb3dddtNbfPY7q5ks9PtBHDFF9sKjdzv2HHPJrn7jZcaxalQscpilyM4Vj8vT0NS1Tn/wCQvaf9cpf/AGWvILZdZWVirKVYdQR0oVSzBR3qRZQwCTAuoGA38S/4j2pG2Ip2SBy3HAIwKAGSNubj7o4H0q5An9oeXEzBbhcLuP8AGv8AiP5VSq3aH7Pbvd5xIT5cXHfufwH86ADVZ1mudsf+piHlx/Qd6qVYnRZI/tMQAGf3iD+E+o9jVegBY0eRwiKWY9hU7W2ntG0N5IZCR0RdyqffkZ/lRMWgiFuvysyhpfU55A/Kq9AANB00oVgktZQ0vnbXJU79u3Iz3xUJ0FbdkmNrMNhBVg5YAjOOQcd6mp0UkkRzHI6H/ZOKAKtp/rLn/rt/7KtWKdCouFuriMASLL+9QDH8K/MP600AkgAZJoAKlmkfy44C2VjzgehPJpY3SFuY1lPfkjH0I/nTj9iYf8vEZ7jhh/SgCvUqW8jLvYrGnYucZ+g6mniW3hX9xGzyf35QMD6D/GoHZncs7FmPUk5NAEwitv4rvn/ZiJ/nipLc2aSbfNnKuNjfIAMH8aqUUAWJPs0bshglLKSDmQdfwFPtriIShWghjU8b9pYqfXnNRXozOZVwUk+Zcfy/DpUNABrEtyLS6jlkfIicEA4HQ+lMh/1Sf7o/lUt7m60u4j6zRwPs/wBpdp4+o7VFD/qU/wB0fyoAfUc8scMRklbag6nGaeehwMn0qpsubmWB5oY4Ujbft3b2JwQPYdfegCndxPH4X1VpA4ea3uZWVuq7lYgfgMCuarrPEkix+H9S3dTZz4H/AGzauToA9X8Df8eGqf8AYc1H/wBKpK3ZpFhheVgSqKWIHoBXOeCoZHs9VZbuaMf25qPyqEwP9Kk9VJq34mjuotFn8m9uGkbChSE+bnkfd7jIoAm8NQt9ja9kKtLdN5hYDBI7Z/X861KzdIt706XbfarieCfywHjHlnafT7tWvs8v/P8AXP5R/wDxNAFiiq/2eX/n+ufyj/8AiaPs8v8Az/XP5R//ABNAFikYBgVYAg9jUH2eX/n+ufyj/wDiaPs8v/P9c/lH/wDE0AWKhs5pppJRLaSW4STahdlPmL/eGDwPY8037PL/AM/1z+Uf/wATSrby7h/p1z19I/8A4mgCv4d/5AVn/wBcx/Or9ZHh63l/sOz/ANOuB+7HaP1/3av/AGeX/n+ufyj/APiaAHX04t7V5cndjCADJLHhQPcnFU4UbyodOgZ1EIX7TKODnqVz/ebqSOgPriq2qQ31xewWNrdXGFImmnYR4iAPygDbyxIz7Y561ftrBreBYY7662qOp2Ek9yTt5J7mgC1FGkUSxxqERRhVHQCnVX+zy/8AP9c/lH/8TR9nl/5/rn8o/wD4mgCxRVf7PL/z/XP5R/8AxNH2eX/n+ufyj/8AiaALFFV/s8v/AD/XP5R//E0fZ5f+f65/KP8A+JoAbqn/AB7x/wDXeP8A9DFWqzdUt5fs8f8Ap1x/r4+0f98f7NWvs8v/AD/XP5R//E0AWKivI2mtJoUxueNlXPqRxTPs8v8Az/XP5R//ABNH2eX/AJ/rn8o//iaAH2kyz2scy9GUH6HuPzqWs2ztnjvLuFL+4xuWXbhOCwOf4emRn6k1a+zy/wDP9c/lH/8AE0AR63tOk3Mb7T5qeUA3cv8AKB9cmrFtDHbW8VvCoWOJFjQDsoGB/Ks6/gljure4m1C6+zR53YWPCOeFZvkzjqM9s5PrV37PL/z/AFx+Uf8A8TQBYqNIytxJLuyHCjGOmM1H9nl/5/rn8o//AImj7PL/AM/1z+Uf/wATQA+UQxb7p1UFVJZ8c4FZlhJNLryyTo0btZtlCOn7wdParjRyG4+zm8ucGPdnEeDzjH3az7axa312O3ivbkIlgQuRHnHmD/ZoA1bprhVfy41K7chskn34HOfT+lQWbT28bPeybE9XYEKSxwM+gGOTUF0t098lkl5eKGXe0ixpwB1GduB26En2qebYkwt5NSn3uCdhWM8YJ5+XpwaALdwsjQSLG5jkKkKwXJU+uO9QWHyIVk3CSRix3dW4GTjtVBIbixESx300lnI6rH90PHuPA+5yvPtjpWj9nl/5/rj/AL5j/wDiaAKt9o2iXWopeXmmWs14RsWZosvjB4z2GM/n71G3hnw816t6dGsvtKEFZfKG4YII5+oH5Ve+zzf8/wBc/lH/APE1U1ef+zNPkvZru8dIyoKose45YDjK+9AD5tMtb6OVdQtxKDc+cuSQQVwFII6cAVdud7W8uyQRuUba56KccGsnQl1e4iuX1G5ljxcutvtWP5oh90nAPPX/AAq3fWMlxZT25v7gCWNkzhO4x/doAZp6w2unx3MjZAQ+WOm1DyEAOM9uTyahmk/s3TLq+uJpjMySSl3GSiqC3QHAAA/P1qxbQ/a7S2uPtk7AosiZWM7cj/d681W1mx+3QHS5L26ZbpSkwXywRCfv87eAen40ne2hUOXmXNseZfCyBW8Lx6zNGP7Q1V3uruY8tIzOxGT6AYAFdZ3rkdK0q88L+LrXwlb61JdaTLa3FxCJUXzrRY5NoBbHzhj04Brrf3kYItru4TI5dlTd+Hy8Vhhf4ajazWj9T1s8TeMlW5uaNT3ovX4W2krPVWta3lppZloD7LGSxxOwwoHVB3J9/aq1V/Im/wCf2f8A75T/AOJo8ib/AJ/Zv++U/wDia6DxyxVS5+y3N6li5dpwgkcoSNkYPCsR2Y549AaZfubGze6mu7hwCERFVMyO3CoPl6n+QNXLe2WMtIGbzZMGVyqhnOO+BXZhaHM+aS0/UwrVLe7F6kljawW0aw28axxg5IHf1JPc1MXbOc4x0HpTY1bJ/eN909h6fSm7W/56N+Qr0W23dnKklojRU5UH1qG8bhV/Guf8JeNPCviW/vdL0HxFa6he6eSt1DC2Wj5xnkcjPGRkZraugxlx5jcD0H+FJNPYZFJ9w/h/On9TiopFbYf3jduw9algjZph+8b16D/CmBfHAxTZEWRGjkUMjDDKRwRSbW/56P8AkP8ACja3/PR/yH+FAXOIggn8J619hnm3aDeyBdPJP/HpIf8AlkSedrHO0k+gqPwwkl9411u+uyTJYMtnAN33VI3nj3yv/fNddrmk2us6Vcabfb3gnXa3QEHswOOCDyK8wgl1Xwr4puZr1pbxhEiX+wDM0I4juVXHJHKsOvQ968+pCNCqqjenkvL8j38M3jaU4xS9py2d3vqndX69H636s9AOi6OdbGuHSrE6oE8sXnkL5wX034zirjks3lq2D1Y+gqDT7u21CxivrO7E1vKu5JFxgipYlbaW3sMknoP8K9C1jwXfqSptRdp4Qcn2965nwQUurK81ofM2o3ckgc9TGp2IPyXP41vX2Y7KeRpWAWJiTx6Gud8A2ckPgvSEW6mUfZVbG1e/Pce9cGNl8Mbno4WNsNOVlvFX67N/pqdJVOf/AJC9p/1yl/8AZak8ib/n9m/75T/4mqk8Ev8Aa1r/AKZN/qpP4U/2f9muEk06Kr+RN/z+zf8AfKf/ABNHkTf8/s3/AHyn/wATQBYUZYDIGTjJ7VZ1F4zMIYSDFENq46H1P4ms7yJv+f2b/vlP/iaPIm/5/Zv++U/+JoAtRSNE+5T2wR2I9DVn7OjSLcJgW2dzZP3fVT7+nrWZ5E3/AD+zf98p/wDE1LbLLGWV7udon4ddqc+4+XrQBLI7SSNIxyWJJptMuLOaJxi+mdGGUYKmGH/fNReRN/z+zf8AfKf/ABNAFgAk4AJPoKn+yyKN0xWEf7Z5/LrWTfx3CWrbL+4QsyruAQEZYAkfL71P9nl/5/Jv++U/+JoAtadPDazXTQq0snmkbn4UfKvbv+NS3LRBz5AKhhkj+7kfdrLsraZ5rhReTD98cnanHyrz92pnhlZyReTgdvlT/wCJoAnoqv5E3/P7N/3yn/xNHkTf8/s3/fKf/E0AWKKr+RN/z+zf98p/8TR5E3/P7N/3yn/xNAFinwRNM5VcAAZZj0Uepqp5E3/P5P8A98p/8TU9zDLGBbpezYXBc4T5m/757dKAJrmRXcLGu2NeFH9fxqKq/kTf8/s3/fKf/E0eRN/z+zf98p/8TQA69YrZTsOCImP6GrVyqpKQnCkBl+hAI/nWbfwTfYbj/TJv9U38Keh/2aufZ5pbGCZbycmNBG/ypx/dP3fw/CgB1Q3M6wrzgseg/wA/57VDJHcbxFDdTySnooVDgev3f8/nTILGUN50l5MZDz0Q4/8AHetAEGsQs2galLP8zfYpcA9sRtz/APW7Y9ea5iuo16GUaDqR+2TH/Q5uNqf882/2a5egD1fwN/x4ap/2HNR/9KpKs64I7i/02zZsMZvNwOvyj/DdWP4V1S3tbPVIV3TXP9uaiBCgOSftUnX0rc0yzuvP+26jIHn24jQDiIHOfx5x9B3oA0qKKKACiiigAooooAKVfvD61VmkZr6G3jfGAZZcHnb0Ufif/QTVpfvD60AZ/h3/AJAVn/1zH86urIjTGEN84AYj2PQ/oapeHf8AkBWf/XMfzqDxNL5FvC0Oftc0ggh253NuzkfTA/DrxQBb0pSbY3D7TJcN5rEDHX7o/BQB+FW6SNEjRY412ooCqPQCloAKKKKACiiigAooooAq6p/x7x/9d4//AEMVaqrqn/HvH/13j/8AQxVqgAooooApynbrMG3GZIJA47kKVwfwLEf8Cq5VW4E0d2LiOHzlMewqGAK8k5GeDn+gp6XcLWbXTExxoCZN4wUx1BHqKAG6ptaxkhdHfz1MIVOrFgeM9uM81LapJHbRRyuHkVFVmAwGIHJx2qrp9ruYXt0hN0WcqWJzGjE7Vx0BC4Bx3Bq9QAUUUUAGBnOBn1rP/wCZmH/Xif8A0YKs3sMs0arDOYWVw24DOQO1UYvO/wCEnYSqgUWZ2ENnI8wdR2/WgC/bvbzO80IBYHy2fbgnHbJ60tzcwW6hp5VQE9T/AJ9qfHGkaBI0VFHZRgVWm/s1r77NLJbfbJEB8ouPMZR3A64ouNRb2Q+7tI7mGeN2dTMoUsDyAOmPx5pLKaR3lt7jb58ONzKMKwOcMPToePUVZqpaKx1C+lIwN0cY567Vzn83I/CgRbqnrWqabo+nSX+r3lvZ2iYDyzMAoJ6D6+1XK8t8czf8JL8RbfQiom0nQohc3sbgFJLpx+6UjvtXLY6c9KyqzcErbvRf1+J35fhYYio3UdoRTlJrey6LzbaivNiTeONe1OZh4C0qJtO3F/turK0cLknJESrhyCc8ninp4v8AiVa/NceFtAvgOdtrfvGf/HxWsOAABgDgAdqWo9jJ6ubv5W/KzOl5nQj7sMNDl/vczfzkpR19LLskY+ifEbW4UNvefD3WFVHIAt545XXJyMrkdj19qH+JtvDq2pNbeF/EkmoSQQRwWc1kYyXBk+82Sqrlhz7Grl8DDKl6uQE4mA/iT1/AnPr1q/qUS6ppv2uJg15bruEitguvY5HUcYP1o9lU6T/Bf8ASx2CbvLCr5Sml87uT+5r1OZ8I6bf/AGu98Qa9Os+tXzFZgn+rt0VyRFH7AknPc10dVNKk82080AgPI7YPbLGrda04KEeVHDi8VUxVV1am/loklokl0SWiClRSxPQAAsxJwFA6knsKWKN5XCIOfU9APU1D/pbyzqB5NrsEax8FpSDkuT2B6Bc+55rqo0HVbt0OKpUULEVjLHqW278hhbxOfshkXG/jmUDqM9B/sgepq/SKQygjoRxTlBY4FeqoxirRWhx3b1e4q8KW/AU08gg8g9ac5HAXoKbTA4P4YfCXwn8PfEeq6/of257rUAUKzzBkhQtuKoAAcZA65PFd9I25y3TNC/xfSm1MYqKshttu7Gy/cP4fzqbTiXHmHqRVedl8tl3AE+9W7JVa1+ZQQ4wR7YqhGN4T8c+EvFd/f2Ph3XrTUbnT223McROU5xnkcjIxkZFdFXF+APhd4J8C6rfap4Z0j7HdXq7JHM8kmEyDtAZiAMjPrXaVMea3vbjdr6BXO+NNAbVIoNRsSI9VsNzWzH7sgI+aJ/VWroqzfE2qR6NolzfyH5kXbEo6vI3CKPUkkUqluR32N8K5qtD2au7r5+T8jgvh5qNnHqs2kW5dLS8Vry0ib/lm4bbNEfQqw/HOa67X9YstEshdXhkYuwjhiiUtJM56KoHU1xX9i6ppeq6S2k6aL7UbexuJLqdpNsazTMoMjk9s7ugOeK6fQ9Ge2EF7q11/aWrqhV7phgLk5IReijtkAE45rgpYpQpJK7d+v3/8D1PYx2HoSre1clytbR11Ta1vte17tXd07XZXksdY8RIF1lm0vTnxusbaXMsqnqssg6D/AGV/OugW3itV+ywRrHDD+7jQdFUcAflVmwt3uZ8Lwi/M7dgBUDsXdnbqxJNc0pyl8TuclSrz6JJLsv619WJVOb/kMWn/AFyl/wDZauVTn/5C9p/1yl/9lqTI0Wtp1l8vy2LYyMcgj1+lREEEgggjqDTvMk8ryvMbZ/dzx+VSyjz085fvqo8xe/HG6gCCiiigAooooAnt5FKmCY4iY5Df3G9f8aimjaKQxv1Hp0PuKbViFlnj+zyEBx/qnPb/AGT7H9KAM/UU32M3zFSqlww7FeQfzFTQt5kSPjl1BwPcU6eDzIZY5CYwysh45yRiodPmZrQR7fLaM+W4HqOOvpQA62+Rrlf4jN83t8q8VJVe0/1lz/12/wDZVqxQAUUUUAFVLfMN5JbHOxx5kXOcf3h7cnP41bqteq6qLiFS0sXO0dWXuv6ce9AF+yCm5VpBlEy7fQc1EzFmLN1JyafayI+mvcROGWUqqkdx1P8ASo6ACiiigCC//wCPC4/65P8AyNS208kQjjhj82SVAvl44YH1/wA9ar6pIEsZ16u0TBV9eK6jw3pX2KzS6uUV7soDnuo2jj0z16dM49SQCHSY7DSUka4m33hzv4zj2HbPSsc9TjpSuzO7OxyzEkn3pKAKOv8A/Iv6n/15Tf8Aotq5Cuv1/wD5F/U/+vKb/wBFtXIUAeqeBI41tNWkWNA7a3qO5gOT/pUnU10VYHgb/jw1T/sOaj/6VSVv0AFFFFABVee5ZZfIt4TNKMFvmCqgPcn+gBNSzyxwQvNKwWNFLMT2AqHTonjgMkq4mmbzJPYnoPwGB+FABDbzNKs11PvdfuxxjbGp9cdSfr+VWGZVUsxCqBkk9hS0yaNJomikXcjDDDOMigDMjV4ZBq8in99xMD/BF/B/3z1P+81aiTQlhiaM8j+MU6o/stq3ytbQEHgjyx0oAqeHf+QFZ/8AXMfzqvfmOPxPpsszABoZIoQf75IyR+AA/EVH4c0+3XQLFYGmtwsY2iKUqB1/h6fpUOr+c+paTaTSwx3Ud2JopicCaJRh1x/fIYfL+PY4AOhooooAKKKDyMUANjYsXyjKFbaCf4vf/PpTqbGVKDZnb2zTqACiiigDP1u5gggjE0nljzozuYEKBvHfpVi3vrK4Utb3lvKo7pICKbqn/HvH/wBd4/8A0MVYljjk/wBZGj46blBoAVSGAZSCD0IOap6zq+laLai71jU7PTrcuEEt1OsSFj0GWIGeDxSS2sltIbiwJC5zJbAKFk55Iz91se4B71Kslpeo8bIkhjOHjlQZQ+4P86AMf/hMvDF1o2p6hpfiLSb+Owtnnma2u0lEYCkgttJwCRXk/hc+OpvDdn4hXxgJWuYvtE1pqFsJIW5yASCDjAFaej/Z7X9kmGZYI1MuhGIlUALM7lBk9+WFcveT6t4XbUdCsbq71OGLw1Fe21vcFXMVwrsgCkAYQ7V+U55+tcs4+0rWbei6Nrd/8A97C1/qmXOpGMW5zt70Yy0jG7WqdviW2uh6BB428fWSIdR8H6fqiEAl9OvTG3P+xIKtQ/F7w3BLHBr9jrOgTykrGt7Zkq5AydrJkHHeuJ+Guoa5qFzp99LeTXWn32l/aLk3N9BMTPlcPCkYBRMl1KngEAdc0fFHSjrHjHwXaR3UlpcrJfTWtwnWKZIAUbH8Qz1U8EEjvVeyqL4Z/ek/8n+Jh9fwdRfvsMvWEpRf480fuies2Pjjwbewia28U6OyHON12iH8mIP6Vbj8TeG5ATH4h0lwOu28jP8AWvA7Dwt/xdPS5fFFppl5qGp6Tf3F3bQx7rRGjktliWNWHOFZvmIyS7dsVl6Lo+gTWfgzWfL0+81XW71oNT0nyYfLgX955iqiqGQw7VyxJz36ij/aPL8R2yl9ai+UX+qv9y9D6esb6yvo2ksby3ukU4LQyq4B98Gs/ULyz0/WZL2/uobW2isC0ksrhVUeYOpNfNtnb29jZ3OvaPrcmheJD4i/syOxs2WNUjFz5Yi8nqxMX7ws2c9fu11elWereJ/iHq1j4x1htZh0aSNYYFhEcDM0UThmQdeHBwT1zSdSstOXX10+fX8BxwmXTftFXagt04+/6RteLv3clbex1+p+Ndc8VSSWfgyM6dpfKvrdzFzIP+mEZ6/7x4rA1nwn4V0nw/e6lqsNxeTxIZ5b+adjdO46YkzkEnAAHHNM+GWpXLXV3oerXl1daxbWsNzcSC6jntJEkLBZICgGxTtPyMAQAPqes8T6HZa1o7abqHnKXdZFaJyrxMpyrD3z2NTPD3i3L3pee33f0/M3w+cKnWhClejRur8r95q+rctG35aRXSKNz4T2Gt6f4GsI/EN7c3V/KDMwnfe8KtysZY8kgYznvmug0sH7KzlixklkfntlzxXl0HjbxZ4V8631y2/4SHToMf8AEzhj2zRDGcSxr97t8y9M5NJpHxdsPIksdPsLrXr1i0kC2CFlUMScSFsbduQPf2p061OnFQk7NdHv/wAH5CxuWY3F15YinBTjNt80PhV++3LbtKzXU9TSd5LqdY9pjhXaTjOZOuPwGM/X2ryH4TM1x4RGpXDF76+up5ryRjkvL5jKfwAAAHpV9b34gavCIZbq08MWRyWW2Anu5CTklnPyKTnsDitDQNGtNB0qHTbHzTCmX3SvuZmY5Yk+5JpxvUqqdrJJ7+dun+ZFVU8HgamHdRSqTlF+7qkoqV05bO7afutrTUv0VR13VrHRNLl1HUZhFBGPqWPZVHcn0rKh1fxc0CXD/DrWPKkUOmy4iZtp6ZXOQfatJ1oQfK9/Rv8AI4sNlmJxNP2lNLlva7lGN32XM1e3W17aX3OjqvbrcWN0ZrLy2RuWhY7Rnvg4PB7isVtf1yP/AI+Ph/4pQDqVgRx+jVG3i4x8T+FPFcTeh0xjz+BNT9apd/zN/wCw8c/hhf0cX+TZsaI+6zZfKeFkldWRh935zjB7j3q/GrO4VeprjbXx3YafNu1DQ/EMNpcO8TSSacy7ZC+Y8EnBOSwx7muyvbeK6t0hZZ4omGZUJAaQEfdbHb2B575rrwsFiNYv3e55+Ow1fBWjWhZvZMSS3P24SC4LQxrhEXgMx6sfX2HQdetTUAAAADAHQCivYirRUex5L3bI4vlZo+w5H0NToxVWI9hUDKyyb1UHIwRnFO3v5f8Aqj1zgkZpgSbz3wfqKCAV3AYx1FRCVOhO09weop0ciFsBgfUd8UAP6J9TUUmWYRjvyxHYVNKNrADkYGKrGWKEnzpERmJPzHtQAlyiC3ZQuNxC8deTWpCu2JV9BWYI57gFo9kcY2lSwyW5/QVoW06zKBlRIB86A8qaAJqKKKACuR8TRrqfjXSbFnYxadE99IgPBcnZHkf99EfSuuri9D/f+JfE98WLsbtLZT/dWOMcD8WNcuLny07Xs3/X5HfgIu86lr8q+6+if4nQeHLeS8g1nUIVMiyvHbxYOcrHyxH4t+laNho9xNKDOjQxDrnqfYVY+He1vA+juiBfMtVcgdMtyf1JrTuNSsoCQ86lh2Xk15gyC/ht7DSbgQR7Awx1ySTxXL9BWvrGpJeWqxxoyr5n8XU4H/1657UP3vl2YAPn53+yDr/QfjQBJaz/AGjc6J+5z8j5+/6ke3v3qKf/AJC9p/1yl/8AZat/TgVkXzNd6zb20ORGEkWWTP8Au5VffsfTPrQBr1PbcRzv6R4/MgUqWscKqtw3kgAYjVctj6dvxqYtaQ2+Vjlk809HcDgd+B6/yoApKCxCqCSegAqby0h+aYgt2jB5/E9v50NcybSkYWFD1CDGfqepp2n2kl5cCKPA4yzHsKADzLST78DxH1ibI/I/40G3iYfubuJvZ8of14q3qdhZ2YVftUrSnnbtB4/pWdmME4Qt6bj/AIUAPkgMZHmSRgEZBVg2fyokEce0KpZ8Atu6A/SomJY5bmpr5dtwWHKyAOh9jQBM5N9Fu/5eI15H99R3HuKx4R5eqzqoIWWNZTnuw+Xj8AKuozI6ujFWU5BHY1Hdx/atTju7fKCCFjcxgcZcgKfp8p+lAEVp/rLn/rsf/QVqxVe0/wBZc/8AXY/+grVjvQAUVeTSb4vtaIIAMlmYYAqT+x3xzdQDgMBznB6fyNAGbT4IZp22wxu5/wBkVvafotuFWS4Yyk9FwVH+Na0aJGgSNFRR0CjAoA5O40HUIbUNYqqyM5kliJyjHtx2PXkfjmsp7qSFjHdWV3DIv3x5LEDnrnHI+leh0jqrqVdQynsRkUAcJDLHNGJIpFdT3U5FJNII0zjceyjua39Z0PRVSS9dZLSTHMluxVm9Bjofx96wPsd9aSW1w83zyh2iLIPMRVIwcdO47ds/QA2LDSfs+l3V/e/69oHIVuBGNp/L/Peujh/1Mf8Auj+Vee6tF9rtbmW+drqTa7/OSVU4OMLnAxnAq/ZXuoWtukdvfSBQBhZQJAB6c84/GgDX1TRpDM01rtKtyUJxt+ntWJWmNamuons7xI4PNIVZ48lcdwynlfzIqs0lrCcW8RlP9+YfyX/GgDL1yGWTw9qjJG7AWU2SBwP3bVxdd54qmluPCd9I8hJW1uEYdB/qyRx+f5VwlAHq/gb/AI8NU/7Dmo/+lUlb9YHgb/jw1T/sOaj/AOlUlb9ABRRSMyqpZmCqoySegFAFS5Zbm9jsxhljxLN+H3V/E84/2ferlVdLBa189vvXDGY8YwD90fguKtUAFFFFABSr94fWkpV+8PrQBn+Hf+QFZ/8AXMfzpmszQ+baWxZPP89JUDEAAKeST268dyfxp/h3/kBWf/XMfzp1oI5rq/ygZTIsbB16kKO3pz/OgCzc3ENsm+4lSMdtxwT7Adz7Co7LzWEk0quhkbKox5VcAAeg7n8aWGztIWDRWsKMOhCDI/Gp6ACig8DJ4FICG+6QfpQAtRW83nCRgBtVyikHrjg/rkfhTdzpO2/eQ7BI1BBGMZLe3f8AIU4mUXKIsa+SVYs2eQ2RgY/OgCWiiigCrqn/AB7x/wDXeP8A9DFWqq6p/wAe8f8A13j/APQxVqgAqOW3glcPJDG7joxUZH41JRQBj3/hbw9fafLp11pMDWcq7XgXKJjOcAKQByM8V5R4J0z7Pfax4fvVkf8Ase5e1UtISXhZt8Qz127T0PGa9vry3xesOkfF6y1BpvLstbs/slyyruC3MZJiBPQMy5Az6Vz1kozjU+T9H/wbHs5dKVfD1sHfpzxX96O/3w5vWyL1lpmm2U8txZabZWs03+tkhgVGk5z8xAyeeeaux2bXEiTLbo7R52Sso+TPBwx6Z9qmE8MY/cW65/vy/Mfy6CopZZZT+8kZvqeBXQeMK1lEJlmkktBKqlVf7zKDjIBA4BwMj2FRPo+m28yala6bZLcyIwmu4rZVkf5jwz43Ht1pafFLJE26KRkPsaAKJ0zTTqI1I6dZm+AwLryF83GMY343dPeoVRE8TGRERHe0JdlUAsQygEnucAD6AVsXuGeOZQAJUDHH97of1FZsCK/iZfMJEa2TM5HpvH/6qALGm6bpujwM2n6fZ2ckzBytvbrGP94gAZPpRPKUG8pJISedoyfrUsrmSRnPGT0HYelVbyOU7JoOZYjkLnAcHqv+HuBQAtnNbyhvs5wdxLqVKsD7g8iq1jbWkOqXDWltFCFjVJPLQKCxJbt1OCPzFVtYu9kIujCLXytp8+4+QqScYHqPXtWbF408NWdui3GqxSXkp8x7e3zPIrNztwmeR0/ConUhDWTSOrDYTE4m8KEJS9E3+R1dV9a1Gz0rS31HUJhDbW8RZ3P1PA9T2ArDh1nxVqZ/4kPgTVJIyfln1B1tEPvhvmxWto3gfWtV1q01XxxJp7wWR32ul2ZZ4vM7PKWA3kdhjFYuvzaU1d+jt9/+R6EMpVCXPjZqMVulKLm/JRTbTe15WS38iDwB4cu/EV+vi7xTakWwcSaLps45t1x/rnA4Lt1AOcV6dRRWtKmqa7vq+5xY7GyxdRO3LFaRitorsvzb3bu3qwpdx9TSVSS8uZcyW9kJbfPyv5wVnHqFIxj0yRWhxHLfEy1mvvAt7HDhpIZprpQ3IPlM7/nkDFN0y6TUNMtruPOJ4UlTPowzj9as+ILye20e8urq1EMAt79dxlDAEhtobjAJIx1PesnwpGIPDOmRJwFtY8Y/3RXbgvilp2/UrEa4WOu0n66pf5I0qKc3I3j8frTQCTgV6B5oqjJoY54HQdKViANq9O59abQA7K5zt/DNRlDcM0cagHu+OE/+vRI21C3oKu2sfl26J3A5+tAEcVoqwqksskrAffJwT+VPWKK3TbHGNzHvyWPuakd9vAG5j0AoRSDuY5Y/p7UAMK7YeTubjJ9TxSyQxuwbBDDPKnB/SnS/6s/Ufzp1AEQjYSKyzPsA5Q85Prk81CJpI7xoWbK8Mueu0/8A181bqhe8anbM3C7GGffI4oAvjrXCr4L1+0+1/wBl+L3tRcXMtyVNlG43Oc4OQTXdVHdMFtpWLbQEPPpxUVKcai5Zep0YfFVMO24W101Sf5p/fucf8N7/AFhfCjaVf33n/YLl7VGRAmY1AK9PY1vVzfgFmez1VjhlOqz7GH3WX5QMevTH4V0qLucL614878z23e2x6GKjGNVqKtt+Q6XjavTCjP481Q04GcfbpOWkyI/9iPPA/HGc/wCApdXYyw/Z1JV7l9gweQOrH8ADUltpUMoLXU0syJyzStwPYKML+GKk5xsP2q+uxHaMEhjfDuOS+OoHYD1PtT3FvZajYw2mN6RS5kHT+Hpn+fWrTyKsK29vGIYF6KOp+tZ8/wDyF7T/AK5S/wDstAF6NGllVAfmY9T/ADpZ3Dykr9wcJ9O1EDBZAT0IKn6EYNNkUpIyN1UkGgBK0NJvhZQXH7slmA2n3rPHJxTpOMIDkL/PvQASySSyNJIxZ2OST3ptFVdWtZL3TJrSG6ktJZChWaMZZNrqx/MAr9DQBaq5Y33kRtFNCJ4SMbDgY/HFciiIIyt34ru45sMm7ycBtp2khQD6Yz7Zq1pCW99fxWNv4yYzTpLHGAuWdhv3FSMYwFPPqnucgHW6hZxOyXa7bW3kQEg/eB9AKyZ9Q+za3HDZoYobqBgykA7vLIOST678YrQkWO8mNuNR86a3gH+tGGlA43A9OTWPfoUntZfKJdJgvA5AYbT+GcH8KALcEdq091Is4ijM2Qm0sy/KvH+TXQ6NHpcmDAm6ZBz5g5+uOn5Vg6Xpd7cPclYSi+d1f5f4Vq5Lo2rR2sk1vftZyKpJWIBmcAZxnt0/WgDorhJi6yRSkKo+aPaCH59ex/xpyRqX85owJMbeecCqmgal/auni68h4TuKlW9u4OBkf/Xqzb3Ec8k0cYkzC+xiyFQTjPBPX6igCaiiigAqO5mit4GmmYKijJNLPNFBEZZpFjQdWY1kQRyazcC6uEK2MZ/cxkf6w+p9v/1euQCMtJPbz6xexqYYkL20EjYHHQn6kfr9K5PV7G61h4LqbUbqzuFnE0hgfO5cMBFkgfKN2eAORXXeMYJJLK3nUsYrebfKgAwRggMf90kGuenmjgTfK2ATgcZJPoB3NAGbbWeoWNtNJca7e3wWJsLKqKDw3XaPcfkKbZ6dqMEcD3Pia/mjjVDIGWOMPhQOSoGMkZP1NWLyK6u7G4kkMltGIm2or4Y8Hlj/AEFWILG1VUabddvtGPNbcF+maAH6cq3k9xIW8yGGMeUTwPMB5b36/TrVhvLC7VG5s/e/oKazswxwFHRQMAUlAEeuSRnwzrUYUgPZTMq/3SEbofpmuGrsNeJXQdSI6/Y5v/RbVx2KAPWPAv8Ax46p/wBhvUf/AEqkrfBBGQQR6iuW8GWFjJa6tNLawmRtb1EO+3BYfapOCe4+tbslm9uRJpwihO7LxEYjcfh90+4H1oAuVTus3V0LPH7lAHnJ/i/up+OMn2HvUOoW2sXQH2e+XTtqnGxFl3n33LwPp61LZSOkvlzWUlvJO5JJdWDsByeD6Dj2FAF2iqi6jbFhu81EJIWRoyEbBwcN/LOM9s1YhmhmBMMiSAHB2nODQA+iiigApV+8PrSUjyJChlkbai8k0AZOmTmDw3Z+X808keyFeuW5/QdT7CtG0to7aMqmWZuXdiSzn1JNZXhGN5NOgvZUK74VSFWA3KgJJ+mSc49hnpW3QAUUUUAQzQ+dKvmKDEqn5T3P/wCr+dSsVjRmbCqAST0A9TS0UANUxyBJVKuMZRgcjB9DTUk3swVSVDbS2e9VrGONdQvTCQqAopReFD4yTj1IZf0q7QBDN9pMmIvLCEclicg+36UxoZo7YrFK8kxYEsx5PPT2HarDlgpKruPYZxmo4mmUqkqFjjJdcbevT1oAh1Y7bVGYgATRkn/gQq3VLVo42tI0Zcr58fB/3xV2gAooooAK80+MVokfwj1VxGQ9pcvcK0YwVk80lHyPQsvP1r0uvOfjBOLf4U69YtIscoSQSIT95WZnBGeueDx3yKwxP8Gfo/yPUyNtZlh7fzw/9KRNp8jy6fbSyHc7wozH1JUE1PXJt448K6XptpHc61bPMIEXyoD5r52jjC5x+NFr4q1fVyy+G/BWuX4x8s9xGLaE/wDAnpfWaSsubX73+Bf9i46o3ONJqN937sfvlZfidZRXMReF/i1ql5582saN4etiP9QiC6ZfzX/2aumsvhrYy2LQ+I9Z1bW5nOWf7VJbJj0CRsBiiNaUvhg/np/wfwCrltCgk62Ii32heTX4KH3TKmseIdB0uyVdT1iytZI3PySTANtI9OvUH865yDxjb3+pbvDekavrzNAUY2lqyoAHBHzvgY9/pXoeieAfBmjMr6f4b05JB0kki81/rufJrUVVXxGqKoVRYnAAwB+8FFq8t2l6a/i/8g9pllL4ITqP+81Ff+Axu/8AydHnMVn8T9Sx9n0HRtFjP8V9eGZwP92PjP41fj+HOvX0f/E+8eagCf8AllpcCWyD23HLH9K9Ioo+rp/FJv5/5WB5xOH8ClCn6Ru/vnzP7meSXvw08P6fcibWVufEBBEkkt7dyu6oD3UHaM4xyCOvSvQPDMXhuzhW30SxsrAcgRxQrGT69Ov5mtGy+a7vnJU/vVTA7AIOv51WvtC0+5WQpH9nldSBJHxtPXdt6E5/r61cKNODvGKRzYnM8Zio8tarKS7Nu3yWyNQ0lc451zS8MzG5txIWOPmGDxtP8QA6+3qRWhp+uWN2VXeYXbOA/Q8469K1OE06KKrXk0nmJa25/fPhmb/nmmeWP8h7/SgCO+d7gSWUCOScJLJ0VFPXnOd23pj1GauKqqoVRhVGAPQUy3hjt4hHEu1ck8nJJ7kk9T71JQBzPjMFvh54hUJvzbXXGM5GWzWNojwSaNZNayLJB9nQRupyCoUY5rtrFVa3kVlDKZpQQRwRvavObC1h8L+Ibrwzu8q0fddaarNkCIn5kBPPytkfQiurCVFGbi+v6XNZw9rhmlvB39U7L8P1fY3VOD0znqPWnuPL+Ud+ppqsoB2sC2ccdqVMMNjfgfQ16Z5QymOxBCqAWPTPah3A4XluwBpY0Cj1Y9T60AEcQMilvmbPX0+laLbtvygZ7ZqpbDMo9uauUANRdpLE5Y9TinUUUANl/wBWfqP506my/wCrP1H86dQAVFcwrcQmNsjuCOoPrUtFAGcL9bOJ1vmEflD5nJwuPXPauT1LUtV8VyLaaPutdILET6gesijtEO5P97oO2a6LxPptnq1pdadqMbtBcQBU2gnDZJzx3BxXOWt54ssba3spPD1tePGgTzlvRCHxxnYU4+g4rmxDqXUYLe9z08FGmqcqmnOmrXaXzt1/Ts+nQ2Nrb2NnFZ2kSxQQqEjRegAq1HIkIaaRUZFHO84GP/1ZrA0vWrubX5NF1HTUsrhbUXKFLnzQy7tuPujB/OtXVP8Aj2ht9wUTSBW9SD1H5D9a8tK2lrfgXXhUhP8AeO7et7p3+abTJILb7ZKb+EHYqlYoWH7xVOMsfXOPy61auP3dvFD6jzHHuen6fzqFWZWDKSCOhFLLI8shkkYsx6k0GI2qlwp/tWzbsY5R/wCg1bqtO7NqNqhPyrHIQMd/loAs1JOQzKw7oM/UDH9KrXMy28LSsC2OAo6sT0A9zTrVZl021W4YPMq7XYd2GCf1NAEsfygue3C/Wm0+XghOm0YP170ygAooHWnMy5ykYX8c/wA6AIUsYJ5iq2cMkkh5/dAlvr+X6VZa3sLFTDZ2dqk7ACeeONQzYzhQQOg3N+Z9aR9QkggZPMSJWHIRAGb24GTUdtZahqQ22kbQR8ZmYD9M8fz+lAEsU5SF4dsZWTA3MuSvPY/gPyqyp0+C0W8upY42t7qIxsX4IyMD+dTr4XMlzHcXGozKFxugh4jP49TV+48O6LPCYZLFWjJBKl2PP50AWkuIIHuWmniiHndXcD+BfWkGqacV3LeRMOxU5z+VVNO0XTITcKtqDiXALMScbV71ej0+xjYslnAGPVvLBJ/HrQBy2k6/MniK4t57ie8hbftIXhQGym0cDoSD7it59Xbgw6bezL/EQnT8s5qe3sWi1GW884fOMbAuOO1T3d1bWqB7q4ihU8AyOFz+dAFE3uqyLui0nYCPl82UAj6j+nFJE2vyRjzEsoX9QT/9etUcjI6UUAZUWlSTSifVZxdOCdsYGI1/Dv8ApWqAAAAAAOgFFVb/AFCzsYfNuJgMnCqvLOfQDuaAMzxhcsLRNPjyHus7nBHyIuMnHckkD8a563s4In84hmcAgO7FmP0J6fhViWae+vXurgBXfhV/55oOi579yfcmmyMGb5Rhew9BQBBqTFrG49BC+B6cGnw/6pP90fyqO/8A+PC4/wCuT/yNSQ/6pP8AdH8qAH0UUUAUdf8A+Rf1P/rym/8ARbVyFdfr/wDyL+p/9eU3/otq5CgD0CzkgTwxqqXKStFL4hvlPlbSwxeSMDhuD93p3qwPB+nX1t59presiOUB4mS7bapGe38wfTHFZegW2n6kdXt5NWa3uYNe1EiN3wFJuHyVBODwR+tdBbaVapYJYz640kEYCoqyquAOnfB/KgDNk8I6XDFGt14n1oSRgFiuoMm8+pQde/HPH0Fa8eoaMumx28KS3yQqBGvll3cjjOW79eTirUNrokMgkX7KzgYBeUN/M1cS5s0UKlxbKB0AkUCgCjBqkzxKbbSbkIBgBhtx7YAI/KoLnU2gvVuJrOS3YoVYyZ2uMjHIHUc44PU9K1vtdr/z9Qf9/B/jSPc2bqVe4tmU8EGRSDQA2zvEuHMZUI+3coDBg6/3lI6jPHtVmuTab7BrZWxuIZoIx8sbSjAZhlgD+C9/4uhwTWpB4j0/cI7yRbObAJWRwR+f9aANiql3uuLuGzCnYGWaR84ACtwv1JH5CpPtlnt3fbLbbjOfNXGPzqnZalZTapI0NxFJC0ajzhINgZSeM9/vds9KAJPDv/ICs/8Arn/Wr9ZXh26tRodnm6gH7v8A56D1q/8Aa7T/AJ+oP+/g/wAaAJqKh+12n/P1B/38H+NH2u0/5+oP+/g/xoAmoqH7Xaf8/UH/AH8H+NH2u0/5+oP+/g/xoAis3EdzPbyKVlaRpFJHEinGCD3wMD8PTFWXVyyFZNoB+Ybc7h6e1Z2tXdotiZluYjNGwaHa6k784AxnvnB9s1ba+sljMj3luqgZJMoAFAFiisWTxFZyu0WnlLtwQCd4VRn1J/8ArVFbTXF5PMLvVobYxNjyoJF5B5Vs5z/PpQBqasQttGWIUedH14/jFOl1CxjG5ryHH+y+4/kKw73S9Gjh3Pd+ez3EbMZLgHncM9MfrWpb2+iW5YxLZAsfmJdWJ/M0ARvr1iYw1ss11k9Ikzx6nPb9fal+2atNJtg01Yk258yZ+AfpwT/nmrf22wiMcYurZNxIRRIoycE/yBp5u7XH/H1B/wB/B/jQBQNlq1wq/adTEOGyVt0xkemeD/OsnX/DlnfXVtZz2/8AaCXAb7St025DGMfeAweSRg+oFbmlXNounQH7XAWdA7Eygks3J/UmoJ9Q09NXWW5vraARRFYy0oAk3EE85xxgcdeppNJqzKhOUJKUXZog0bwto2lyxvZ6PpdksWdiWtsq5bpuZsZJxn863iSetQfa7T/n6g/7+L/jR9rtP+fqD/v4P8aIxUVZIqrVqVZc1STb7vUmoqH7Xaf8/UH/AH8H+NVdT1BobdWsfstzKXClWuFUKvduvNMzNCs//mZh/wBeJ/8ARgq19rtf+fqD/v6tZ5urX/hJQftUGPsR/wCWg/56CgDWqtqM7QwKsfEsziKMkcBj3/AZP4U/7Xaf8/UH/fwf41R1W8tlksttzbh/tK7WaUBRkEEH6gkD3xQBes7ZLWARI0j8ks8jbnY+pPepqh+12n/P1B/38H+NH2u0/wCfqD/v4P8AGgCasvVdPtJpYT5AEssgQlRjcvJJP0GSD2OOxNXvtdp/z9Qf9/B/jVOG5tJtRluWuoCsI8mPMg68Fz157D8D70AQJLc6OwjuSZ7EnCSgfNH7H2/yPSrmmOtw1xeK+9JJNkZ7bU+Xj/gW4/r3qZrmzZSrXFuykYIMikEVjybdKczadcwy2xOZLcygke68/wCffsAb9FZttruj3CBl1G2Qn+GSVVIPpyaufa7T/n6g/wC/g/xoAbp/+pf/AK7y/wDoxq5b4gaXNrVsb2xh3Xehy+fb/L807bQXjB/ulTj3bHpW5Hqllb2zj7RC8rTTeXGrglzvb06D37VPazQwWjiS9tzKxeRisgADEk4HPai7WqdjSjPkmpWv5d/L5nG6VfQ6pYwalYyK8NwgYbgQR6g+4PBHtVny8kb2L47HpXPfDTYngnT/AJwS3mOxLZJJkYk10e9P76/nXtQlzxUu5x4uiqFedJO/K2vuZKVDLvAAYcNx+tMoSVVbIdfzodk+8GXaenPSrOcsWY+834VYqhHMI2yHX3GauJNG67ldfzoAc3Y9hnNJENqDvnmk3rv++m3Hr3pQ64GXTP1oAJf9WfqP500ygTFG49DRK6eWfnXqO/vTi8efvL+dADqKbvT++v50b0/vr+dADqjuI45YWSQZGPyp29P76/nRvT++v50AcRdKn/CdaDdltst3Zz2556gYcH8K2bcCe6mu3Ys4do4wekag4wPc45P0rF8SNDY63oOoSsB9kuZrchTnIkibb+oWtawaGGJ2kuIBJLIZGAkGFJ7de1eTibe1ep607uhSduj+fvPf+trF6iovtNv/AM/EP/fYo+02/wDz8Q/99isDElrNa6WbVoVtUMxEMp3fdQ428Bu/4ZpJL22vgIYpR5DEeZJvCqy9wOcnPHTsetPe5t49Ysyk8ICxSYAcYH3eKAJoYJXmWe6dS652Rp9xM9/c+/6VotiOONfvSctgc4J9fwAqJprVZhHBdQs7YA+cfKT2+vvXU2P9n2kCxx3FtuwNzeYMsfXrQBy/lTEZ8qQ++00ixuzhFRix7Ac11l1qmnWsfmT31ui9v3gJP0FZn9qTaif9BlgtYD/y3lddxHsM/wCfWgCu9ja2loZNQuPLmZfkiB5B7cVSsdM1K+w3l/ZYiAdz9fp/nj3resbXS7aTzmuoZ7jkmWSUE5Ppzx/Or/2u1/5+oP8Av4P8aAKGm6DY2eHZTcS8ZeTnkd8f45rVHAAAwB0ArNvb5JJVtbS8gR+DJJ5i4Qf4mrH2yzgt901/b7UXLO0ijp3NAFiR0jjaSRgiKMsx6AVHaSyTRmR4WiUn5Fb7xX1I7Z9PTGeeKpRzwXkq3FxPCkKNuhhMi5J7O3PX0Hbr16Xftdp/z9Qf9/B/jQAlr/rLn/rt/wCyLTrueO1tZbmXPlxIXbAycAZ6VXtbu18y5/0qD/Xf89B/dWsvxZqtuLUafDcxeZcDLsJR8sYIz+f3ce5oAqz67qk6MsaQWqvyGGWkQenPGff9O9ZroC8byq9yA6eYJZCzMgOSMt6+nTmk+02//PxD/wB9ikNxbkHbcwg9jvHFAG7D4pE6GSLTZNuSuHmUMCDgggZx+dR/8JFqO0/6FZg9szN/hXOaPcWv9mW+JoVBQY+cfMOzH3I5/Grf2m3/AOfiH/vsUAX7nU7+7VkuJFjiYYMcBK/+PdT+n0qrHbRrl4UQcfNwAQP8Ki+02/8Az8Q/99inQ3FsZAPtMIzx98UATHCKQGDM3XHYUyovtNv/AM/EP/fYo+02/wDz8Q/99igBt/8A8eFx/wBcn/kakh/1Sf7o/lVa/uLf7Bcf6RD/AKp/4x6GpIbm38pP9Ih+6P4x6UAWKKi+02//AD8Q/wDfYo+02/8Az8Q/99igCtr/APyL+p/9eU3/AKLauQrq9euLc6BqQFxET9jm/jH/ADzauUoA9T8EW8D2WqM8MTN/buonJQE5+1SDNb/kQf8APGP/AL4FYXgORXstXVTkpruoq3sftLn+RFdDQBH5EH/PGP8A74FHkQf88Y/++BUlFAHP6p4dubrV5r+11aSzV7TyUiSIEI/Pz88HqOMdqpzeG9e2wrD4mYN8wmka2TJ+RwMDpwzKf+A+9dZRQBx9xp99ZamWXVmYCQTPFIkaLKny8bj0xtYE+4qlYeF9WnBRdeujZO0kjCa2TBLEldhOWwMjngfKK67Xkjk01vMjWTEke0MBgMXC55+vPqMinPFdWal7eV7mJRkwynLY/wBluufY5+tAGXH4Zht4rb7Obd5Io9khngDiRuPnwfunOenrSyaNrczDGtwQjPAjsl4H41vQyJNEssbBkcBlI7g09fvD60AcjoGg3raHaMNeuFJi6C3jxWlPYawLMRxXNmZlA/eiEAtj1BBHNXPDv/ICs/8ArmP51foAxI5NSt7dBdaPFcSYwWhKjJ9cc07+1tPTYLixmgZjgB4R1/rWzR2x2oAz4r7R5WCrLbBicBXXaT9AQM1bWO1YEqkBA6kAHFMmsrFwXltYG45JjHSsd9OsJiZYNKvirqMFZFVXHbhmyo/AUAReIHtrjULO1t4YrpkZ3eBY1ZXOAAD9NxPt7VbtdFEyIdVWKUoqhIkXCoR1PHUn+lW9M0+O1dpzHGsrjbhMkIvoCeT7nv8AhV+gDNkso7O4a5tbWNoWUCaFIxnIwAy/QDp3+tLLBbziG/sYYZXHHygDemeV57jrz0II4ya0aqW/7vUbmDACuFnGPU/K3/oIP4mgCtd/Z57fb9mVHjuY1dGQZB3KR046EGtDyIP+eMf/AHwKzJ/3ss9yMBftEMK4P3tj8t+bEfhWvQBQuoYXvrSERwgAtMw2DJCjA/VgfwxVvyIf+eMf/fIqvC32jUnlVsxQKYhgcFyQW59sKPrmrlAGVeLa6REbl44lsQSZRsyY2ZvvD1GTjA/CoodUs7qKRo9G1AqvA82wKBj2AzyfrjHNaOq2kV9ps9pO5jjkTlwcFCOQ2fYgH8KreF72bUfD9neXDK00kfzsvRiCQWH1xn8aAH6Pp/2TS7e2uvJmmjTDOsQUdegHoOn4Vb8iD/njH/3wKkooAj8iD/njH/3wKPIg/wCeMf8A3wKkooAj8iD/AJ4x/wDfArPMEP8Awko/cx/8eR/hH/PQVqVnn/kZR/14n/0YKALnkQ/88Y/++BVBFtL7UUaFYZILXduZVBUy9MZ9VG786kDtqLARmaOzAyXxsMx9B32478ZyMHrV5FVEVEUKqgAADAA9KAGeRB/zxj/74FHkQf8APGP/AL4FSUUAVb8Q29nLMsMIZV+XKjG48DP4kUtpY21tbRwLDGdg5JUcnufxOTTb/c89pAqBg8u9zn7qoM59/m2j8T6VboAj8iD/AJ4x/wDfAo8iD/njH/3wKgl1CGK5eKRZAkYG+bGUViM7SeoOMHpjkc0st4fPjhtYluGdDIT5gCqucA55zk/yNADbjStNuM+dYW7E9SEAJ/Ec1m3mj6XDmK0t1+1y5VQrkbSR95sc4A5568DvWpPJeELDFbhZGHM24FE/DqT7Yx71Ja20Vuv7tcucb5G5Zz6k9TQBhWmhSRzNdWN8Yv3ro0UsYkVlDtxzyKlvbPW/NR7drIx9Hi8tcMO55GR+da2n/wCpf/rvL/6MalvmZbY7SVJdFyOoywH9aAPHtJk8QeF9Oj0ifw218lqWVpradTn5ieAcH8P1q/8A8JlpEQxqFrf2EmMsk1q3y/ioIrpbxt13M3rI386qwTLcLINuNjlGBweR/kGuiGKqRST1/P8Ar5G1adKtKU5U0m+10r97a/d91iDTta0XUYhJZahazKfRxWnGEb5cLg9D6Gse80PRbwlrnSbKVj1LQrk/jiqY8L2EIP8AZtzf6b7W9wdv/fLZH5Vusarar/hjFYajJpczWnVX1+XQ6IooOCoz9KltdolxtHI9K56PSvElrai4tfES36htrpe243Ke3zp6/TtSSX/ivSZY21PQbe8TbuJ0+5DSKPdHC/kM1t9apa67ELAznbkkm352++9l+J1Uqrsx8q5IGTT9q/3R+VYWj+KNE1qZrOG4aK6T/WW1wpilXB/utyfqK3q6DknCUHaSI5VXyz8o6jt708qv90flTZuYyPp/OgQxjqC3+8S386CRC8IO3KE+g5NOXYwyoBH0p3bHao3+WRXHc7W9/SgB+1f7o/Kjav8AdH5UtHSgDjPiBbiS+0aePAEOp24fjqS2Mf8AfJNbPkw/88o/++RWR4p3yX/hm3YjL6hJPJ77Y3I/XFaN1qFlbHbNcxq+M7AcsfwHNeXi3epv0+49RK2Hp6Wvd+utv0ZN5MP/ADyj/wC+RVSW3S5vjbssa2yxZmUIMvu4Az26H86ik1Od2ZLWxckD7052f+O8t+lSWyX4lnlZk3yAKDs2gADsDk9+4rmMy6IrZDuNvFsHRSAABWbdS2kerW7BI22xS52qML93v0FXJbFS5WSZ5FzxnqfxOSPwxUMkUaaxaFUGfKk5PJ/h70AaWiSW6XombT3mVFJ/dRb8HseK2y99eOn2PT0tYg/zPOgBYY9CMj/PSneFoSsEsx/jYKPoP/11s0AZlpodjFskuIUubgKA8si53H1x0H9Kv+RD/wA8Y/8AvkVJRQBH5EH/ADxj/wC+RVWGCG8hLyQqqbz5ez5SV6DpVudWeF0RtrMMZ9KciqiKijCqMAe1AFYW9laQM3kxqg+ZiV3E/wBSaggtY7uU3FxAnkBgbeJo8EYz87DHfOQD0wD1qbUm3olmozJOcf7qAjc34ZGPcirdAEfkQf8APGP/AL4FHkQf88Y/++BUlFAFS1gg8y5/cxf67+4P7q1y2tRxSa7ebooyIyka/KMAbA382Ndba/6y5/67f+yLXHXBZtRv2bJzdybT6rnigCH7PB/zxi/74FL5EH/PGL/vgVJVTU8mGOL5gksqxyFeoU+/bJwPxoATTYYTYxMIo9rAsvyjgEkgfkRVjyYf+eUf/fIp4AUBVAAHAA7UtAEfkw/88o/++RR5MP8Azyj/AO+RUlLGoZwDwM8/SgBLiCASnbFH0BPyjrgZ/Wo/Jh/55R/98ipWbcxb1NJQBVv4YfsFx+6j/wBU/wDCPQ1JDDD5Sfuo/uj+EelJf/8AHhcf9cn/AJGpIf8AVJ/uj+VACeTD/wA8o/8AvkUeTD/zyj/75FSUUAZ2vwxf2BqX7qP/AI85v4R/zzauTrr9f/5F/U/+vKb/ANFtXIUAej+BJmgudUgGWS513U2OUxtZZ35z3GBj2JFdfXN+A4o/J1ecYaU61qCE5ztH2qQ49vWty/vrOwi828uEhU9Nx5b6Acn8KALFFV9PvbW/thcWcwljPGcEEH0IOCD9RUlxNHBH5khIGQAAMkk9AB3NAElI7LGjSOwVFGWYnAAqpLJfzRFbe3FuzDAkmYEp77RnJ9iakazhkkWSfdM4xjexKg46henvQBEnnXk8UrxmK2jO9Ffh3bsSOw74POcdMVdoooAqW6rDqM8aoEEqrKuBgEjhvx6fnVxfvD61n6WpmlnvpTl3do4x/wA8kU42/iQWP1A7CtBfvD60AZ/h3/kBWf8A1zH86v1Q8O/8gKz/AOuY/nV+gAooooAZNNHbxNNK21EGSah0uH7Pp0EJUqVQZBPIPU0yLF9P5zLm2jI8nJ++4Jy/0Hb8/SrlABRRRQADrVHTy1xBPeRsFlnLKhI+6FJVR+YJ/Gp76YwwEoN0rnZEv95j0/DufYGnWcC21pFbr0jULn1Pc/ieaAM8Mv8AZNvGF2PFNFHIn91gwz/j+NXr+Vo4CsXM0h2RD/aPf6Dr+FUdfX7OiXqL8vnRC4A7qGGGx6j+X0FWblVk1SzZFDOiuxbqFQgD8ycY9s+9AFizt47W1htYV2xxIEUewGKxYdS1rUZ55dJh002MchiSS4kfdKR1YbQRtzxW8fuk5wPX0rJ8IAL4etgF2jMnGMf8tGoAqz2fiLUU+x6lJpcNlIf35tDJ5jJ3T5uOe59M1vRokcaxxqERQFVQMAAdBTqKACiiigAooqnqEs++K0tZFimm3HzGXdsVcZIHQnkdaAJLm4dZBb28YknI3cnCoP7zf4DrWVJYtceJVW8uDNH9hbMarsU5kHBweRjsa2YYY4d/lg5dizEnJJ9zVP8A5mYf9eJ/9GCgDQooooAKKKKAIbm3WcoxeWN4ySrRtgjPX2I9iDUJtb0yHOpv5R/hEKhsf73r+FXKKAI7aGO3i8uJSFySckkknqST1NVNOit1v7+a3QBXdQzDoXAwwH49ffPvUuoySiJbe3YLPOSiMedgxy2O+B+uKnhjjhhSGJdqIMKPagB9V7tLjiW2k+dQf3TcrJ7ex96sUUAU9HmSey86P7ryykZ6j943FP1IgWv/AG1jx7/OtU9PYWlxIrNtguJpSuTwsgkbI56ZHb1B9ataxGz6dMYwpljUyR7um5eR/KgDkJ1WXzEYZV8gj1Bplv5XkgwlSh5BBzn3qG6Wa6s0a0u2tGba4k8sP8vUgg8cipbUQiEeQwaMksCGyDk5PNAEtFFSxLCiG5unEduhAYk43H+6PegCzpMggaSeYgQY2tkZyc8fl1/Csy+muF1OW38sOyjc7sSA2SMEH0xk1HeM9xb3KXshgtQ58sI+3bHgdSPU59zmtHTLK41W2tVige1tIjtaaQYaSIDhVXr+JxigDBvNNs9eRIn0ybUpE5SWNNjL7q5Ix+BxTbXRvG+k3YGmi6v7InmC/ePK/wC64bP55/rXpVjZ29jAsFtGERQB1yTj1Pep6qE5Qu49TRVZWUXrFa2ex5rL4pjjn/s/VNPvtNvM8CSIlHx1KsODWnp2s2F1KY4r+CRu67xuH1FdbqscclkwkjRxleGUH+IVl6l4N8L6hcm5udEtPPyP3sa+W4x7riuyOM7rp+Jk6VKXS2vTa3o/8yLtSMAylWGQetMbwXp8Nu66df6pZTFNscgu3kVD67GOG/GsC58N/EezlVrHxPpWpxBiTHd2vkMw7DcoatIYuEmk1a/3C+pxak4zWnR3Tfpa6082vK5vqxRgjnIP3W9fY+9ZfifxFp+g26NdM8k87eXbW8Q3STyHoigdSaq6nrGuaTYmTWPCd+yjAaSykSdM+uAQ3X2zVjwF4fOoal/wmeuW2btgU0uKX71rCepZegkY5z3A49qVXFRULw1b/D1/rX8TahgOSbliGuWPZp83kmrr1fRa72T5VNL8Ra7qEF1rps9PisHljFhCzPKjMo/1jggd+g610VvYWcIKRQiON+iKNq9sjjqRx156HvWv4mDW3iFRG22O8gDSJj7zoThvwGB+PtVF1ZjtT7zHjJ43Acfn0/GvPcnJ3k7v+uw6tX2j0Vktkr2Wt7K7b69xyqqjCqFHoBilpAQwDDkEZFLSMh8g+RG9R/I1USF7jX7GFOrRyD6fd5q7Lj7PBjrhs/nV3QLcrq1tcsOXilVfoNuaAOkgiSGFIoxhVGBT6p6jLdB44bPy/NOWO84G0duh6/So2GqRxyXLzRsd6uLZFGAgHzIGPJJ65OORjoaANCikjZZI1kU5VgGB9QajlubaGVIZbiGOST7iM4Bb6A9aAJaKZPNDbrunljiX1dgv86x7/wAR6eiyQWU32m724QRoSgOOpfG3A+pPtQBocy6ruAwtvGUJ9WfacfgFH51brlbLWry3uJmnhW6SZlYlWCFCFCnAxg5wD1FX/wDhI4P+fG7/APIf/wAVQBt0VgnxGd4xp7bPUzDd+WMfrSweKdNlufsfl3YvTnZaiLdI6gAlhtyNvOMkjnigCXVtQaxguBDj7TNPtiyMhfkXLH6D9cCuZkVUtXVmlK7TuZRuc56n3PegzzXOrahLdQSwXHnkCKXG5I9q7ehIwevBNSE4GScAd6AMZZoJwLltZ1cKAoZfs7R4bYCMYHuOmeRWhrgf+zrhoW2SBd6EjoQcjI+oq0GyAwbIPQg1Q1p1+zx2zHAuZFjY55Cnqf5D8RQBfPt0ooNFABUkAJ3gDPyEVHUiDKRgcEyH+n+NAEdFDsC7MBgEkgelFAEF/wD8eFx/1yf+RqSH/VJ/uj+VR3//AB4XH/XJ/wCRqSH/AFSf7o/lQA+iiigCjr//ACL+p/8AXlN/6LauQrr9f/5F/U/+vKb/ANFtXIUAeleCdPVxq90bm4XfrWoK0cbBFOLqTk4GSffPtVjWNDuftxu9PUTmRQrpNOcqR3UnPHqPWpPAu77DqucY/tzUcY9PtUlbRjma7EjTERIBtReMtzkse46cUAYnh6PUrKG7aW1hmLTDiGfPQAYGRyR39+PetW2CzX9xLI254H8pFxxHlFY/iQw5/Cp7e2ht7cW8EYijGcBeOvU59feqGk2q2f2xopG/eTFY1lct8yjGSTyScfkBQBqVDcXMVu0ayb/3jBQVQsASQBkjpyR1qPT1nIaaW5eVZACqMgXYec4xzg8dcnirVABRRRQBQslWDVr+EMxMxS5wegyojx/5Dz+NaC/eH1qpfho3jvEXd5IbzBuwShHPscYBx7VPZzxXMUc8D7426HGPwI7H2oApeHiF0G0ZiABFkknAA5py6g0i/ubG7YtjyyybVYHvnJwPrg+1UtMUTaRpVqx/dyKWkX+8F5x9M4z9Md626ABc4G7Ge+OlVLwSXEos1DpERumkHHy/3AfU9/QfUVbooARVCqFUAKBgAdhS0UUAFFFFAFS6+TUbOQrlW3x7sfdJGR9M4xVuq2qqX02fapZlQsgC5O4cjA9cgVCutaQzmNtUsVlChnQzqCueOQT68UASasAbZAehmjz/AN9CsLT5NRudRvY9He3+yQlbdL6fL8LkmNFBG/aWI3Ej0561FrE82v3k+l7YotPtLqEXP73MlwrEFQAOiH1zzjHrXVQwxQRLDBEkUaDCoi4AHsBQBiyaDcXTPcXusXq3L/Lm0kMSKn90LyPck85rYs7eG0tYrW3TZFEgRFznAFS0UAFFFRTJcMW8qdYwVAXMe7BzyevP0oAloqtBDNHdu7OrJIgL9R+8HGQM8AjH5VZoAKqvh9VjXDfuoWf2yxwPqcBqtVVsislzdzeVtYSCIPnO9VUdPTBZh9QaALVZ/wDzMw/68T/6MFaFZ/8AzMw/68T/AOjBQBoUUUUAFFFFABRRRQBUtQ817PcSNlY2MMSjoAMbj9SR+QFW6r2PSf8A67v/ADqxQAUUUUAZlhIZhNDPaxvbGabEm4OvDn7w7frViC2aNc2t43ktyiMA6gex64/Gq2iQ8yyJO3lJNNEIwOCRIeTnq2QRkYq3YrHDF5KxmAGR9iM2cjJPHt3x2oA4iyi+zwfZsqfId4cqMA7WK9O3So7qa6iuUENpLcoyEBYwOHzxn0GPY/hU2oeXDq2pWSyFJnuHZUjG5xuAO4KMnvmrOlrqRsrhLiwuoZCyeWwiYeavOeOq9sg0ARwRC1iRb+ffO5JEQYbieu3PoPzqoLi91C9RYYXMsYKpZxsGCg9Gc9Fx/j1rWj0NpbggLcxzsAHkZcLEvfaTkEn2+prp9Ps7awtVtrSIRRr2HUn1J6k+5oAx9K8OLHKlzqcwu5k+ZIwuIoz6gdSfc1v0UUAFFZOraubWYwW6qzj7xboPaoW8QfuF22/77vk/LQBqaj/x5v8A7y/+hCrJ61RkkebSFlkADOEYgdOWFXj1oASiiorudLa2knkyVRc4Hf0FAGL4iu4muhDIT5NqBJKAM73JASPHcksBjvurWsofs9szNueRyZJOByx6gDoPSscabJdeH553OL2Vlu426gOjb4+PTI6ehNbWnXSXun215H9yeJZF+jAGgDk9elVvEqy6o0ljAbYLaGQAqTkl92CcN0A5x19qpiSOe1WZeUID4bgjHOD6EYrb8Qz/APE0UbVkWJRlSMg9yDWBpEcJ0lJIiPmd/OT+45JJGOw9B7EdqALEYVVKrkBWKjI9DinVHFuxkqQGVSOeuBtOPbKmpKAHsCfLjU5JAwPc10ckflanYQx4UrbSqDjOD8tZmj2vm6mPMKgRBX2k9eOK2Ln/AJDll/1xm/8AZaABYb0RwyO8D3Yi8uSTaQgPdgvX8MilktZ44/MhnkmnBJIlkIWQYPy4HC+xA4wOtNv7q/h1CzhtrAz28rYmlz/qx/T1569OtWrpbsxj7I0KvnnzUZhj8CKAKmjXES6ZDFNKsc0MQE0btho8DnOew9elcm0kl80l1dKpec7iuMhV/hX8Bj8c0eO2vLiSNZ7e0ljtmXe4ZlPJGQowcH8fannrQBGIY94cqXdRhWclio9AT0H0qSiigAooooAKn0j5Nfsp9pZvnhx7OASfw2D8M1BWp4WtPOvHvnzsgzHEPVyPmP4Dj8TQBrSWNpfNOt1CJNs+VOSGX5F6EciqsXhuxW4MkklxPFnKwSMCg+uOWHsc++a0rX/WXP8A12/9kWi8inmVUhuPIGfnYDJI9vSgDibywjhv7iOOaZYFlfy4lbYqDPQbcHHoO1Vr7TfK06QxWxH2hhF5kgL53HnqecDJ/Cu6tdMs7c7/AC/MfqXk5qlc+Xq0s0ccy4iU+QOgkPGXB7j+HI96AOeHAA5/GloYFWKkYIODRQAU9uIU7HJI+nH+FR0+b/Wt6A4H0FAB5kn940rbWTfkBs4K/wBaZRQBBf8A/Hhcf9cn/kakh/1Sf7o/lUd//wAeFx/1yf8Akakh/wBUn+6P5UAPooooApa8CdA1IAZP2Ob/ANFtXHV2+rwyv4b1eSNCQtjOC3QD922f0/nXE0AeneGIrqbRdWhtJ/s8j65qA83qUH2qTJA7mtO8u3guJoluD+4tA/Kk4Y7sM5xjHy1T8CBxZ6sWfKnXNR2rtxt/0qTv3rRn8r7TetJBFPtjTCKvzMRlgpJ4Jzgge9ADJb7UI4WnFnA0Qw+VlJYoR6Y+8DjPbHSprWzhm0uGK6jE24CR/M5y55J/MmkEItrq41FLeR2mijUwxgbyQWOeSBn5uue1O2/ZnE9xqLqsjfcmKKvPRR0wfxNAFtFVEVEUKqjCqBgAelLRRQAUUUUAVLxftF3Fas2ISjSSL/z0AIAX6ZOT+A71BdvdWQuDFGNk0gMcy4PlM2BlweoB54zVp/8AkKRH/phJj2+ZM/0/Kp3RZEaNsFXBU5GeDQBmeGYETSLWY5aVoQpY+g7D0FalYPho3ll4Z05WjF2kcKoViGJMDjd8xwfccfjW3bzR3EQkhcOp7jt7H0PtQA+iq01/axSmFpCZBjKohY5Pbgdfan291DOzJGxDr95GUqw/A8496AJqKKKACiiqupahZ6dEsl5OIg7bUG0szH0AAJNACarfLp9qJvJkndnWOKKPG6R2OAOeB9T0qhomjIunt/a1jYS3Us8s8mIw4UuxONxGSQuAT3xUdiz65qseomOWKwsmP2QOhUzyFSpkIPIUAkAH1JreoAy5NPsdPtQtjaQ26vPEWEa4zhhj8q1Kq6p/x7x/9d4//QxVqgAooooAKKKKACmJKjySRrkmPG7jjJ9+9M+0wfa/sokDTbdxReSo9T6e2etFxJFZ2zybAFB4VeNzMcAfUkj86AGXU5hvbRN/yTF4yoHO7aWBz6DafzFTW8McEKQxjCKMCobWF/tE1zNGiySEKoB3FUA6Z+uT+NWaACs//mZh/wBeJ/8ARgrQrGvZMeKbWJXKtJb9jzhX3H8OMfjQBs0UUUAFFFFABRRRQBFbxNEZcsCHkLr7A9vzzUtFFABRUVvcQ3AdoX3qrFCQDjI64Pf8Ki1S8+w2bTrA9wwIAiRgGfJAOMnnHXHtQBn6SwsbHU797mWe2a7mmWPywDCA5DKPXLAnn1NacttHLdQ3EmWMOTEOykggn64JH4ms6DRtPnm+1SRN5qXUz8OQrHefvDoRwD9a2KAMrRdy6pqgkAMhkViwHJXlVH4BRWrWXpx/4n+pKq4VVj5/vE5/kd1alABRUbzwxtteaNW9CwBrEvdclW4ZbZYzGpxkjO6gDfqG/m+z2cs3dVOPr2plxdrFp32s45QMBnuegrmLm/u7lCk0xKHqoAAoAruzO5djlick+ppBguq5GWOAM9aqajeJaxovmRLLKwSPe2Bn1PsP8B3p2kWK3Op2pYSNidXM0g+d8HOFH8K9R/TvQB3F4gj0/wAscBdgH/fQq2etUdSuoADa+YDMSp2jt8w61ePWgBKyNXze6nbaYp/df624Hqo6D/PqK1LiVIIHmkOERSxrP8PxO0MmoTqBNdNu6YwvYf59qANMcViaO02k3aaJdmP7O5b+zZV4yg58kj+8o6eqjPY1t1k+L9q+Hbq4xmS1AuIcHB8xDuUD3JGPfOKAMbWDnU7jP9+sfUzb2z2U0SJBK0+yeQceYp+6pHc5zz1GB61vX9rcXOrXIhiZv3hyegH41V1bT9K+wSwajdh9wxiIgBG7HcfQ0AVoI53nKqC4yVVQuT2b+bNWkuniDD6hMkC/3Adzn8BWfp2qfadJtruH/RriI/Z7gDgMwO0svqCStSKjSONxPPVjQBrWVzbx6rDFaweWrNtZnOWPHT2rSuf+Q5Z/9cZv/Za520cf2lE6jrKOvua6K5/5Dtl/1xm/9loA5TWdU8P3195zLrwujGis1lLJHsUqCcbTgsA+Dj5uD6VUub/whJbQ2NxaeIHXzSY96TFlaSRSV3ZyAS4yM/dyOlei0ZNAGBDr+n6hoD3klrOsMrtAkEqbXkOOgHb+mKwYgwT5+Dk4Gc4GeBnvxjmui8XpCdOSZ5GWaOT9wBzvY8bSPTGfpjNYFABRVe/uI7e3Je4jt2k/dxPJnG8g46A1XM80l8oXVtLSJnOEVtxxtY7fywe3Ck/QA0KKQMjDdG4dD0YHINLQA0rLI6W9upaeU7IxjOD6n2HU12enWkdjZR20XRBye7MepP1Ncb4cmmbUhdwuD5r+Si9tgbB/MjP4Cu6oAqrLHAl7PK22ONy7H0ARSaqWWqvqGmpPa27JNMG2h2BVACRvJ9PT1q9bgM90rAEGbkEdfkWsjXN0l3DptuqxoQMhRgck+nYUAan2KGQZuGe4LAbtznYf+A5xjviiUbtStUXaFijdyAOmcKPp1P5VYiQRxJGvRVCj8Kq2ipJqN1dqpzhYA3qFySB+LH9aAOf1yHydSlAXCv8AOPx/+vmqVb/imHMMM4HKkqT7GsCgB6fKu89f4fr60ynS8Pt4+X5abQAUUUUAQX//AB4XH/XJ/wCRqSH/AFSf7o/lUd//AMeFx/1yf+RqxAgWBWfqFGF/xoAFRmG7ovqelOJRQNo3MDkk9Ppiq89zi4ih5eR84A/hUdT9P8aloAq6/LINB1Jg5BFlPjHAH7tq4vFdhr//ACL+p/8AXlN/6LauQoA9X8Df8eGqf9hzUf8A0qkrWSzsmvTqCxI05Xb5gYnjp0zjPbPWsPwkkcuj6vDKrskmt6ijBM5wbqT0rpFVUUKqhVHQAYAoAWmyRxyLtkRXX0YZFOooAqs2oAblitsBsbN5JK565xjOOcY9s96tVDdtcbUW3jyzOAWJACLnkn1444pJLjbexWqqCXRpGJPRVwOPU5YfrQBPRRRQBVuG8vUbVyPldXiznoThh/6ARVtfvD61U1NVaCPcBkTxFSex3j+matr94fWgDP8ADv8AyArP/rmP51Lc6faXDlpYslsb9rFd+Om7BGfxqLw7/wAgKz/65j+dX6AGxRxxJ5cUaxp/dRQB+QqrqTGBob7+CAkS/wDXMjk++CAce1XKpa3tbTnickLM8cJI7b3Vf60APa6YarHZhAUe3aXfnnIYDGPxqySAQCQCegz1qjpImzL9ruDcXcWIpZAmxCcbuF+jDJplyskniO0R3HkpA8irt58zIXOfTazcfSgDSrjNVlv9TnvLO4l0yOe1lkktoJUkikCp0ZJQwHKnlh0yciuzrC8R2kWp6zpOn3EYltwZbiVD32gBfwJc5HcdaALfhW5uLzwzpt3ebzcTWyPIW6kkd60qB0wOBRQBV1T/AI94/wDrvH/6GKtVV1T/AI94/wDrvH/6GKtUAFFFFABRRRQAgVQxYKAx6nHJpl1CLi3khJxvUgH0PY/geakqrqE0ioLe2I+1Sg+XxkJ6ufYfrwKAF0u4kubJJZowkmWVgGyCVJUkdODj0FWay57PVhIVs9ShghaVZCWtw7AfxqBnGGPOe3vUsdzc2qKuoopQAA3SH5SfVl/h/UUAX6x2Afxqnzcw6ax24/vSAZz/AMBP51sVz1rMx8W3csdtPLmApuDKAQrKOMsO+aAOhoqm2oBZNj2V+D6i3LD81yKsQyiUHEcqY/voV/nQBJRRRQAVUvbiLJtBdtbzMB86hSUznB+YEc4NW6hmtonkFwttDJcqMIzryPbOMigCqEupr2NlmuI4omBYuFAk4wVC4zg9cnv0qe9juHntHhY+XHKWlUNjcNpA+uCQcf5LbGGy3te2qpmYYZk6Nhjnj6k81boAqy2/2iUJNHsghdXjVX4kI5yQOgBwQM9RzTnS5a/jbei20ak4BO53ORz2wBz7n6VYqnql8ll5Cs8MZmfYrzSbFBxnr6+goAk0/wD1L/8AXeX/ANGNU0pZYnZF3MFJA9TioNOIaBypBBmlwR/vtVodaAMnw+Nz3U+S5k8s+YeN+U3njtguwx7Vq1U0mHyLMDay73aTa3VQTwPwGB+FS3txHbW7yyMFwOPc9qAOc8QQSRag8j8rL8yn+lZ9Gs6hK3kyy4kmkYxqM7VGAWyT2GAfyqLwxLJPcIt55U0aMA1wgxE+c5A9x7Z7UATbm2hCzbAc7c8ZqqJ7j95/oUrbFLEqeMDsM9SeMDvz7Z7C5sbW6EcKRtGsR5YIQMdxnvXMXUrRwSNglYlZgo74H86AMmS5ZZDdjRblrjyyBzk8ZwPQfX3/AD2LUsy79pD7Og6gn/8AXWLZ+IbG6ljhjWYu6krhDgkDOATjP5UT65v0+8tYF1G0vi0cfmQ25fyj98jOVI4GDjkUAdnZae8Fo91cZErFQFPUDcOvvW+etYdhMkekrpU179pv7WONbgsfmZgwBbqevXqeoq1qOpbJTaWSme7JxhRkJ7n/AD9aAM/xheExpp8LHdIcylRnavbPp6/gPWk03WmhjWG4QuijCsvUD0rOtPE2k6c95b3dvdSXqStHOQgbzSMnjJAPQ9OnGcdBPFPY6xA8lhZzW06xiby32/MhJHRSQDlTx7UAW7rXpmytvEIx/ebk/wCFUJbx5ZYZr6d5rezWW/lhwCXEa4QY/wB5sj/aUVWppijeWORoY5HQjYWQNjnI6+/NAGlqcHi68YItrpccZwebxwBnqGUR9R6gkH2rmPGNjrFloMtzqdlbrFCyuZra43ovOPnDKpA5xnBHPNeg3V9HpWjm91KUny1G/aMszE4CgdySQAK5GVr/AF95RrMiRWZbzIbMj5UA5AkI++e+OgIoAigeI20M0EQRXjOxQMEZG4Ae+QtXDlVOc7m657CqNvqtlcXf2WzlR5A+FGOHwRuCt0OM846Zqe1LG2iL8sUXJ98UAT2523Ebejg/rXUXP/Ids/8ArjN/7LXKVv2F19qv7B2OXWGZX+vyUAbVFFUdW1S30+I7mEk7A+XCpyzH+g9SaAMHxBcG41qRM5S2URrz/EQGb8eVqlTUD/M8rB5XYvIwGNzHkmnUANkjjkXbJGjr6MoI/WoVsrJXR1s7YMmdpES8ZGPT0JFWKKAGoqogRFCqowABwKSaRIYmkkYKqjJJp9VJP3+pLH1jgXew/wBs/d/IZP4igDW8H2+ZrfepUxx72Hox/wDrmuurF8KxYhmm/vMFH4f/AK62qAILX/WXP/Xb/wBkWqdjH5+sXV2w4jPlJ+XP+ferlr/rLn/rt/7ItSQQxwx7IwQMljk5yScmgB9FFFAFfUoRcWMsWMkqSv1HSuQh/wBavsc129cjeQ+RqU8eMAbmX6YJFAFTrzRRRQAUUUUARXj7LC5wqkmFsEjpwelAnjgt1eVjgqFwBksT0A980zUSF0+5LEACF8k9uDTNIgkvQl0Y2cjPk5GAidN3tnrk9jigB1lC6hp5wPtEuC+Odo7KPYfqcmrkUMkpOxcgdSeAPqakIt4o2DHzpT02n5V/HvTJZpJQFYgIOiqMKPwoAq+IPJh8PantImk+xT84+Vf3bfnXEV1+v/8AIv6n/wBeU3/otq5CgD1DwXcNHaaqotLiQDXNR+ZAuD/pUnqasXPiRo9Wm0u28Pa5fXEEMc0v2eOHCLIXCZLyryTG/TPSua8Nnxlv1k6UdKe1XxDqOxZWIOzzz8rYGQS2/kdBt4qzYJ4mudU8WIyJHqzaXp21LGUIdvnXWQjucBiu7BJABI6UDW5vf29qP/QleJ/++LX/AOP0f29qP/QleJ/++LX/AOP10nhuO/i0Cxj1RmN6sCCcswZt2OckcE+pHetCm1Zkp3Rxf9vaj/0JXif/AL4tf/j9V5ta1Vry2kTwR4l2rvEh22ucEcf8t+eQK7yikM4AeIvERYP/AMID4gWP/nmTbb/z87H4frVv+3tR/wChK8T/APfFr/8AH67SigDzvUtT1a4nSZfBHiZjbbZIFxagmTPOf3+OV4/E1ctPEWrSRh5vAXiiB8/cP2RuPqJ8V3FFAHAaRq2q2umW9vL4J8TeZGm1sLakZ/7/ANW/7e1H/oSvE/8A3xa//H67SigDi/7e1H/oSvE//fFr/wDH6p6hrGszyQJF4L8RrGrF2do7UkMB8uB5/PJz+Arrtbh1KWfTW0+d40ju1a6UFQHi2sCDkZ67TxitKgDz+11rX45IBP4P8RSqI3850gtUDOSu3A+0E8Dd3qS01S+gRd3gvxPJKAwMjR2uTubcR/r+Bnt7Cu8ooA4v+3tR/wChK8T/APfFr/8AH6y9b1DWJ5rK8sfBXiZbq2nXki1AaJiBIp/f88cj3Ar0iigDi/7e1H/oSvE//fFr/wDH6P7e1H/oSvE//fFr/wDH67SigDg77WdUmiRU8E+JsiVGOUtegYE/8t6sf29qP/QleJ/++LX/AOP12lFAHF/29qP/AEJXif8A74tf/j9H9vaj/wBCV4n/AO+LX/4/XaVxWoW3i+XVfEZ01ry1DxQrp0lzPFJbs4I3MqKdyADIII+bk56YEAv9vaj/ANCV4n/74tf/AI/R/b2o/wDQleJ/++LX/wCP1hS2nxXhuW+yXB2M4AMksMiggKCx3DOw/vCAuG3FM/LuqPVbH4wBktrXVlmt2ExecR2yzA4+RegAzjqAfmY546MEdA2vakFJXwR4nY44Gy1GT/3/AKZ4c1f7ab7fpeqQ3tvcCG7SeOIMj+WkgUbXI27ZFI57nPOaxNMj+MQmtbjULiJ1F3Gs1vGLZFaEu+8lsMcAbMYwcds5NdDoX/Iz+MP+wvF/6QWlFtANH7XJ/wA+F3+Sf/FUjXLMpVtPuypGCCE5H/fVWqCQASTgAZJpAYVlq01tEIrvT7gQxSNAs25STt+7uyeMjvk8/WodKupv7Tt5JdPulkksDI64TgtJuP8AF71rWDCae9bKSQySK8RGCrKY1GQeh5DVDK8cXiEySMsca2BLMxwAPMFADr7V4rGBprm1u0QAnhFZiB1wAST+AqaO9aRFdbG7KsAwO1eQf+BUGzWa4a4knkdTsMaq2AqjBxx1yRz6jjpVugChdahNH5Ij0+6JklVOQnA5J/i9Aam+1v8A8+N3+Sf/ABVVprhY7xry54t4H8pXLAKmR8zn8flz2596bYeZcWZvPtCTEOxguJkIxHjGcYGOh57j60AP/tKRr77NFY3DeWu6bhMrn7o+91PJ+gqKZ7m4leK6tZxbH7sUeAzj1Y7s+nA/+tVezNrFbSW5nn+2XjG4VY/3crgngjAHYDPpnntWrbWNvbzGZFdpCMbncuVB6gE9ASMn1NADY7gxosaafdqqgBQAnAH/AAKnfa5P+fC7/JP/AIqrNUtc1BdL057xoZJsEKqJ3YnAyewz3oAWa7uPLPk2Nxv4wXC4Hr0aorZmjleeSzu5Z3wC5RBhR0UfNwKtWFx9rs4rnyZYPMXJjlXay+xFT0Ac9ZX39nOENvcrbTXEqKjbP3bmRsY+boenscetbH2qT/nwu/yT/wCKqPThbzRT/LFIRPKj8A4O88H8/wBah23FrdW9hbuGgc7gSSWiReo9weAO4z36gAtfa5P+fC7/ACT/AOKrlvH89yy2En9nXptFmxcEKvAIwM/N03Fa7KqHiGF7jR7iBATvXB29cZ5xQBx2g21xeafFGttcgMvmEkKSgbpjLZ4zgfStbw3Z2el3cttHZ6hc3AA3yyRxgZH0br79TU3geVYrBbJopFdfuu4yWXqoJHsRXSUAZOp6xNabAul3chkyF+7976bqzNTS+uolvf7Ku0lK/vIxtzx0I+b9K6K4hhM0d1K5XyASMnCjPUmsDWdcuDem10srNuXbkLn5j6f06D3oAw/tMn/Pjdfkv/xVQy6pdR4Fil3DPnbuREY4Pb72B9e1dHa+GpJQG1C5OM/6qPoR6H/JrbsdPs7If6PAqnGNx5b86AOEg0u9uLDzJtKurR/tHmtOWDSsSR3LZ/Hv+Nb2iwf2HNcTXFnqMrTMF84BSu0ZIBUH5cc8njnrW/qP/Hm/+8v/AKEKsnrQByjWutzSvNZ6vfxW8pkYbYY5M7vukF2IXb0woA46ZzV3Qo9Ys3uG1K8v9S8xv3QNtDEI1yePlPJ5HJ9K0ZYpLWZri0j3o5zNCMDJ/vL2z6jv9eozXN02xFe2g/jdxh29lHb6/l60AYsljFqV09y1rqMVvuKhISi+ZjgknORznpj1zTNZtrPTtPk1G1028t5rZd0eGXbI/wDCrAsd2TgevPFdPGiRRLGihI0UKoHAAFecapHH4mvpr2/aWSzWUraQrKyxlFPDkA8ljnr2OKAMvVrzWda1oxyPextayHzJIhG8cDYOFQElS/PJ5wBg8nixJBe3SrHqDXUkOMPDDEkayf7x3E49gRWzFHHDGscUaxoowqqMAD6VteHrHzpPtUy5jT7oP8Tf/WoAxpbPyfDDsmm3ELKNtthEzF8pVSuTwckflWJb6pf2+owafeWrXDSqzJJEFVwqjlnTOAM8ZB6npXoniTjSmPHDr1+tefzbtP12KWMxsmpOEkV87kKRk5U+mF6H6jvQBofapP8AnyuvyX/4qq1t4ostJ8S263UN0P3LiRUj3sucYJCk+lWL+/tbKESTzICw/doDlpT6KOrH6Vn6Zata3dq0oxc3Cyz3B9ZDs/kAB+FAGzqfiCbUJVlthqCWLALsXYvzdRuIOcEdOcZBBGaqxyiMER6fcLk5OFXk+/zVCYbf+2NjRqQ0fmFXGV3gjBXPQ8HOPatGgCt9pf8A587r8l/+Ko+0v/z53X5L/wDFVZooArfaX/587r8l/wDiqPtL/wDPndfkv/xVWaKAKr3bKjN9iujtBOML/wDFVX064cWiSGzuS8o8xyAvJbn+9+H4VbvJXjRFiKCWRwibucepx3wOa1fDGkRtAitu8iABRn+M0AbGlSvBp8Mf2C7ztycBOp5/vVa+1yf8+F3+Sf8AxVWaKAM+1u5PMuf9Bu/9d6J/dX/aqf7XJ/z4Xf5J/wDFU61/1lz/ANdv/ZFqegCt9rk/58Lv8k/+Ko+1yf8APhd/kn/xVWaKAK32uT/nwu/yT/4que8RSTLfJPHp9425ORtU4x/wKt7U7+KyiOSGlI+VP6n2rlZZpZZWldyXY5JzQBWa4YglbG6BHVSF4/8AHqZ9qk/58rr8l/8Aiq0Yrm4iUEysRj5VbnP59qYZgx/eRRt/ujaf0oAo/apP+fK6/Jf/AIqo7q/a3t5JmsbohFLYAXJx2+9Wltt2HyyNG3o4yPzH+FVtQtZ5bCURKC23KMOQGHIz+IFAGRfNdXFjKb20l2rEzeUijbu2nqS3OK2rm8ljtra2FldKFhRnGF5YjOT83uKqyyrcaS8yfdkgJH4rWhesGuXI6DCj6AY/pQBR+1Sf8+V1+S//ABVH2qT/AJ8rr8l/+KqzRQBk69cudB1IfY7kf6HNyQvH7tveuYrstbRpNC1JVxn7FOeewEbE1xlAHq/gUAWOq4AGdc1En3/0qSsXxBf6XHr/AIy0m98QaZo11qXh21gtZLy7WH5mN4oYZIJAJGcVreCo7hrLVDHcBF/tzUcDys/8vUnfNa5kaGQR6hHGyk4jn2fKfQEfwn9D+lAHOf8ACwbn/oPfDf8A8KM//G6P+Fg3P/Qe+G//AIUZ/wDjddb9ni/54R/98Cj7PF/zwj/74FAHJf8ACwbn/oPfDf8A8KM//G6P+Fg3P/Qe+G//AIUZ/wDjddb9ni/54R/98Cj7PF/zwj/74FAHJf8ACwbn/oPfDf8A8KM//G6pWXjS/t9R1C6k8WfDyeO6dGihfxGdtuFQKQvydCQW7cmu6+zxf88I/wDvgVR1W2t7gw6c9vGVuCWf5P4FwSPxOB+JoAwP+Fg3P/Qe+G//AIUZ/wDjdH/Cwbn/AKD3w3/8KM//ABuut8iL/nhH/wB8ClW3i3D9xH1/uCgDkf8AhYNx/wBB74b/APhRn/43R/wsG5/6D3w3/wDCjP8A8brd8OW0H9i2j/Z4txiAJ2DOMn/E1ofZ4v8AnhH/AN8CgDhtQ8bX9zdafNH4q+HdutrcmWWNPEZxcKYpE2N8nTc6v35QfUXP+Fg3P/Qe+G//AIUZ/wDjddHq1lHNp8qLaxuwAZV2gEkHPB7Hile50xIPtDvbpHsWQllAwrHAJ9OeKAOb/wCFg3P/AEHvhv8A+FGf/jdH/Cwbj/oPfDf/AMKM/wDxuusSKB0DrFEysAQQoII9ayNcSBZyqWCpcxRG6hnUKASnVW77cHBzxg0AZX/Cwbn/AKD3w3/8KM//ABumXHj26lt5I18RfDiNnQqHXxGcqSOv+rrrbdYJ7eKdbdQsiK4BjAOCM0/7PF/zwj/74FAHE6T44vbPS7Szm8UfDu7lggSJ55PEZ3SsqgFz+76kjP41Z/4WDc/9B74b/wDhRn/43Vy2t9R0y/1Ob+wY7qG5uvNUwSIG27QBhDjnjnnk81O39tXxzZ2FnpkQ6PdxeY7/APAFI2j6n8KAMz/hYNz/ANB74b/+FGf/AI3R/wALBuf+g98N/wDwoz/8bq2+pQlrfTdUtEs9RaaMKpj/AHc5DDJjbofXHUZrovs8X/PCP/vgUAcl/wALBuf+g98N/wDwoz/8bqfwn4q0O3vtXv8AXPGfhFZb6eN44bXWUkSJViVOrbeSQT071032eL/nhH/3wKPs8X/PCP8A74FAEP8AwnXgn/ocfD3/AIM4f/iqP+E68E/9Dj4e/wDBnD/8VU32eL/nhH/3wKiuja28YaSBSScKixgsx9AO9ACf8J14I/6HHw7/AODOH/4qsXwfqFjqeteLL3Tb22vbV9XjCTW8qyI2LG1Bwykg4IIrSt9Mjk1D+0rm3UTBTHFHtGI0z+rHv+X10VQKMKgUegGKACquq2893ZNbwTLCZCA7ld2F74HqelW8H0NQ3kU8kY8iQxyKwYE9D6gjuMUAN0/zPsMPnKBKFxJtXaCw4JA7AnJ/Gs24kgk8WR2sscjlrLcP3bFMiQEZPTt0rawfQ1hapC15r5sUYqJLHExVsMiGTt7nGP1oA0Z55o9VtYFwYZEfeNuSGGNvP/fXt+mbdIIkEjSCNQ7AAsF5IHQZp2D6GgDN0maHzbqwaTfPHcSs64PCuxcfo4H4GoZ4ZWurP7UFYXE7LIgOVEaq7IvvyBn1qaazjutRuIZI38opFKxVip8wFgCCOQcAfp71ZvbYy2LQxIAygGLPAVl5X9QKALGBkcDjpxRUVrMLhCdjo6na6MMFT6f/AF+9TYPoaAMGPw/PHdSTR65qKLIWLIJMjkkjGc4IJ/HAo/sG72lR4h1Jd775CGGWPy9M5wML0Hqa3sH0NGD6GgDn7XSdSstSt5Bq97d2u5jJG7Dqe5PcDnj3rU1G4a38rb0yzScZ/dqpLfj0H41NFNvuZoGUq0W0+xUjr+YI/Cs3UJpNR0TfbsbdJp0SOVuPl3j5se+OncfWgBvhlXzcM27IYpJk9ZA75+pAKgn2qzBBJNZrdJLtvJUV9/8ADnHC4/u8n8eaZA32LTPIgyZWnlihDcksXbk/qT9K0LaEW9tFbpuKxIqAnkkAY5oAZaXC3ERbbsdTtkQnlG7j/wCv3FZnjO+ay0OVYs+dcfuYwB69f0zVvUnispor53EQZ1hlJ4DKeAT9Cc59M1jeK/K8QaTcaXYwzSzOuI51UgRN2b8CPbOKAINGsb6eUFr6S2jtrlpJgrHEg3EhTz/dA6+tbN1q3mO1tpsbXM/Tco+RT657/wAvequmaFdNBHHqE7FQFLRRnAdwoUsfrjOOcetUzPrcMkn9iz6LLp+W8kyOAcqD8mQeTkAEnnk0Aa6abLdLu1WbzjkYjjJVFwOfrnr7dqvpbW6BAkEahDlcKODXHjUPHklyI1h8OIvBfZcF2QYJ4yRnoPzb0Ge1ypYhTn29qACimCaIz/Zw4MuM7e+KkwfQ0AVtR/483/3l/wDQhVk9ar6iD9jfg/eX/wBCFWCDnoaAEopcH0NGD6GgDD8c3k9n4cm+zMyTXEkdsjgZ2eYwUn8ia56CKOCBIYl2xxqFUegAwK6TxnYXF/oEqW3+ugdLhFPRzGd20/XFc1bSrcW8c8YbZIoYZHODQBZs4WuLqOFf4m5+neuxhjSGJYo12oowBXOeGw/9pAiMsNhBOPu10+D6GgDJ8VN/xKZIgR+8BB9cYPP57fzrlLy0tbyEQ3UEc8YIYK4yMjvXQeLn3PBb7MnIbPpg5/mq1jYPoaAKNnpOnWlwZ4LVVk6KSS3lj0QH7g56DFOn/wCQvaf9cpf/AGWrmD6Gqc4P9r2nB/1Uv/stAD7qKUzwzxAOY9wKM2Acjr9R/U1GjaijCWeOFkxhooSSV9wSBn6fzq7g+hpVVmYKqkknAAHWgCqb61CbvMP+6FJb8sZqPztRZ1aOzhWI9RLMRJ+QBH61ozwTQSGOaNkf0Ipm1sZ2nHrigChM+oAmdUjWOMZMOdzSevPb29farkbLIiujBlYAgjuDTsH0NVI1ntHdFheWAndHtxlPVee2efxoAZYl7t49QfCxmM+SncBsZLH14HHaur0C68uVbE4ClNw/3jyf0/lXPaVbulukcy4wWeTHYFixGfxxVkzS/ajcJlH3bhjtQB2lFYlnro27bqJtw/iQdfwqR9egB+W3lP1wKANC1/1lz/12/wDZFqeuetde3S3QW1I/ek5LeiL7e1RS61fv93ZGP9lef1oA6ViFUsxAA6k1i6prQU+XZkFgeXIyPwrImmurk/vJJZPY5xUfl4+8wHsOTQA2R3kcu7F2J5J6mnEKg55f07D60+VfLCmIHaw4Y9ff6VDg+hoAGJYkk5NFGD6GnxRSSNtRfqT0A9TQAkMbSyrGgyzGpb29jsom+zyFIYvmZx1dv89BRLIkMLRQngj95IRjd7D0FZkAN7KtywP2dTmFcfeP98/0/OgBLB5hapZyaa+1YXAkDqAFAJXdzkkDHbrVtG3IrHqRmpkytreynP7u0lP5qR/WoYQfJTg/dH8qAHUUYPoaTI3FcjcOo7igCDW/k8Lau/d7OaMfTy2J/p+dcVXbeKFKeHb6LuthMzcdzGx/liuJoA9nuPAfhqe7uLo2+oRSXErTSiDVbqJC7HLNtSQKMkknA6mo3+Hvhh1KtHqzKRgg61eEEf8Af2iigBlt8PvDIt0ATVwAMD/id3v/AMdqT/hX/hr+7q//AIO73/47RRQAf8K/8Nf3dX/8Hd7/APHaP+Ff+Gv7ur/+Du9/+O0UUAH/AAr/AMNf3dX/APB3e/8Ax2mH4eeFzOrmPViyqQD/AG1eZGcZ/wCWtFFAD/8AhX/hr+7q/wD4O73/AOO0v/Cv/DX93V//AAd3v/x2iigCK1+HvheO3REj1ZVAwANbvMD/AMi06bwD4bWJmVdXyB/0G7z/AOO0UUAKnw/8NY+7rHU/8xy99f8ArrUcPw78LIwKRasp2441q86Z/wCuvufzoooAba/DvwvBbmOGLVo0QkIq61eAKPQDzeBTj8PPC8kOZItWYtHtbOtXnIPUf63pRRQBL/wr/wANf3dX/wDB3e//AB2j/hX/AIa/u6v/AODu9/8AjtFFAB/wr/w1/d1f/wAHd7/8do/4V/4a/u6v/wCDu9/+O0UUAVL/AOHPhSW4t5JINUd4tzRs2s3hKnjkfvfarY+H/hrA+XV//B3e/wDx2iigA/4V/wCGv7ur/wDg7vf/AI7R/wAK/wDDX93V/wDwd3v/AMdoooAP+Ff+Gv7ur/8Ag7vf/jtQx/D/AMMvIsjR6sWUMAf7avOOf+uvsKKKAJv+Ff8Ahr+7q/8A4O73/wCO0f8ACv8Aw1/d1f8A8Hd7/wDHaKKAD/hX/hr+7q//AIO73/47R/wr/wANf3dX/wDB3e//AB2iigA/4V/4a/u6v/4O73/47UQ+HXhUXZmEOqiQptL/ANtXmSM9M+bRRQBL/wAK/wDDX93V/wDwd3v/AMdo/wCFf+Gv7ur/APg7vf8A47RRQA0fD7wz5zNs1fJUAn+27z3/AOmtO/4V/wCGv7ur/wDg7vf/AI7RRQAxfh74XWZ2EerBmA3H+27znGf+mtP/AOFf+Gv7ur/+Du9/+O0UUAH/AAr/AMNf3dX/APB3e/8Ax2j/AIV/4a/u6v8A+Du9/wDjtFFAEB+Hfhcwzfu9W+ctuP8Abd5z25/e+lSP8PPC5VVMerEAjA/tq84x0/5a0UUAQH4ceFGuVZodWLJkqf7bvflJPJH73vVr/hX/AIa/u6v/AODu9/8AjtFFAFG7+G/hSVg0sOrOfNAy2t3p49P9b09qux/DzwvGgSOLVUUdAutXgH/o2iigBw+H/hrP3dY/8Hd7/wDHa5Gb4U+BzLzp1/wxYf8AE4vOGJTJ/wBb14H5UUUAV2+EvgQxoTpl9nagz/a956Y/56+hI/Gusj+G/hRcSLDqwcgZYa3eg/8Ao2iigB8Pw38JxyGRINVV/wC8NavM/wDo2pv+Ff8Ahr+7q/8A4O73/wCO0UUANk+HvhlkKsmrkccHW7z1/wCutO/4V/4a/u6v/wCDu9/+O0UUAH/Cv/DX93V//B3e/wDx2j/hX/hr+7q//g7vf/jtFFAB/wAK/wDDP93V/wDwd3n/AMdrOsfhf4NS3CpZ6kqhjgDWbwAc/wDXWiigC9B8OvCsKbYodVQHrjWrwf8AtWn/APCv/DX93V//AAd3v/x2iigCtN8NvCUs+6S31V2x1OtXh9P+mvsKb/wrLwf/AM+up/8Ag6vP/jtFFAB/wrLwf/z66n/4Orz/AOO1G3ww8G/aI2+x6luCtg/2zecdP+mtFFAEn/CsvB//AD66n/4Orz/47T4fhr4RjkDpbaorDoRrV5/8doooAdcfDfwnMwaWDVXIGATrV5/8dpi/DXwiv3bfVR9Navf/AI7RRQA4fDPweRzaamT6nWbzP/o2o/8AhWXg/wD59dT/APB1ef8Ax2iigBx+GfhDYF+y6pj0/tq8/wDjtN/4Vl4P/wCfXU//AAdXn/x2iigA/wCFZeD/APn11P8A8HV5/wDHaP8AhWXg/wD59dT/APB1ef8Ax2iigBsXwx8HBnItNTGWOf8Aic3nPH/XWn/8Ky8H/wDPrqf/AIOrz/47RRQAr/DTwieDbapgdB/bV5j/ANG03/hWXg//AJ9dT/8AB1ef/HaKKAHH4Z+ENoH2XU8DP/MavP8A47Tf+FZeD/8An11P/wAHV5/8doooAP8AhWXg/wD59dT/APB1ef8Ax2kg+G3hIxupt9UxvIx/bV52/wC2tFFAEd18MPBroqNZ6kys4BB1m8wR/wB/adb/AA08INBGzWupklQT/wATm89P+utFFAD3+GfhD7PKv2XU9rqQw/tm85Hp/rajh+GnhAs6/ZdTwpAH/E5vOOB/01oooAk/4Vl4P/59dT/8HV5/8dqrY/DHwaDIRZ6kCQCx/ti8yTz1Pm80UUAW5vhj4Nm3rLZ6k6uCrhtZvCGB4IP72tj/AIRHw3/0CYPzP+NFFAH/2Q==">
            <a:extLst>
              <a:ext uri="{FF2B5EF4-FFF2-40B4-BE49-F238E27FC236}">
                <a16:creationId xmlns:a16="http://schemas.microsoft.com/office/drawing/2014/main" id="{F5833AB8-D8D1-49EC-AC8B-425E4D1209A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82468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AutoShape 7" descr="data:image/jpg;base64,%20/9j/4AAQSkZJRgABAQEAYABgAAD/2wBDAAUDBAQEAwUEBAQFBQUGBwwIBwcHBw8LCwkMEQ8SEhEPERETFhwXExQaFRERGCEYGh0dHx8fExciJCIeJBweHx7/2wBDAQUFBQcGBw4ICA4eFBEUHh4eHh4eHh4eHh4eHh4eHh4eHh4eHh4eHh4eHh4eHh4eHh4eHh4eHh4eHh4eHh4eHh7/wAARCALFA1M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37wbouoeINHk1e+8Y+J4ppr++Ty7e7RI0VLuWNAo2HACqo61sjwbJ/wBDp4v/APBgn/xuj4T/APIlp/2EtR/9Lp66pen4mkxHK/8ACGSf9Dp4v/8ABgn/AMbo/wCEMk/6HTxf/wCDBP8A43XV0UDOU/4QyT/odPF//gwT/wCN0f8ACGSf9Dp4v/8ABgn/AMbrq6KAOU/4QyT/AKHTxf8A+DBP/jdMl8HzICw8aeLyACSP7QT/AON111MbBOCMjacj1oTE9jlx4Nkx/wAjp4v/APBgn/xumyeDZghK+NPF4IGf+Qgn/wAbrqYM+RHnrtGfyp7DKkeoo6hujlE8HOyhl8aeLz/3EE/+N0v/AAhkn/Q6eL//AAYJ/wDG61Ht75LjNldpBGV+eBrfcWfPLbiR1GBSpcahp+nu9439ozIORFGIieD2JxycAU7MFJGNP4RkjAVfGXi95G+6v9oJz/5D4FV7nwtcW8TBvGHjF5dpYbdQjxx9UHH1rZ0vWPtTFn03ULdpAd00sahI8D7pIY4A/U1TklmuftNvE3lF+W65wBwuev8A9ei6j8RlVlK1oFA+GLxpgqeK/GIBBwG1GPJ568IeKtR+C7nGX8b+LifQX6Y/9F101vsjG1Ekdz99j1z7mpd0uTmIY7YfJP6UtXqy1ZdbnKnwbdDGPGXixvX/AImKj/2maB4Nuef+Ky8WD0/4mKn/ANp11ayBmK4KsOcGn07jS8zkX8HXC/N/wmXi5l74v0z/AOi6evg2RhkeNPF+P+v9P/jddXTXZURndgqqMkk4AFK40jlE8Gykt/xWni/g4/5CCf8AxusLxJb6foNxFY3XjnxjcahcI7WtlBfo00xUE4C+XxnHBOBV638VX/i29uLHwYuywik23GszRnymHRlg/vOOxxt/ro2Xh3TdCnkvY4xcavdoq3eoSr+9m2gDPoucZIXAzWMq2l47d/8AI7p4aGETlir83SK38ubsvLfyW65rQ/CHi/U7mPUL3xt4n0mxySlkLtJJZUIBUuxj+QjkEDPbpXRL4Pkztfxp4vVs8f8AEwTB+n7uuh0mQtAVJzirDfvJAo+6jZJ9/QVrDY46lf21pJJeS/rX1ZzP/CGSf9Dp4v8A/Bgn/wAbo/4QyT/odPF//gwT/wCN11dFMRyEng+ZZYlHjTxfhic/6enpn/nnUh8GuBz408Xj66gn/wAbrpZv+PiD6t/6CaW4hS4iMcmdp64py20ITev9dDlP+EQnJIXxl4rPHQammev/AFzp6eD2cZXxp4w9wb9Mj/yHXUJBEsKxKuFUYXHGKFjEb5jVQCOfUn1ovoC5upzB8GTYOPGni/Pb/iYJ/wDG6zLvw3cQShv+E28XGM/Lj7enyn6+X/niu7Znx88eVI52nJFUr6OKeCVgUO0AAZ7f5NTNPldjOtdr3Wcj/wAI3dEfL408X5HUG/T/AON1FF4fu/I82Xxt4uAxyft6fh/yzrc2vCPkyV7Y6r9PalBWXZtAEaKG2jsTnr6dK5eadr3OP2077mIvhy9Zd/8Awmfi4f7P29Mj/wAh0g8N32ML418XFieM3yf/ABuugBIORTwNyMwXGMZwfWs/ayfUpTn3Ocbw7fcj/hMvFgP/AGEE/wDjVLH4bvSQD418XEn/AKfkAH/kOug3t35HvzUihMEsCpxnimqkn1BTl3Odbw7dbuPGni4j/r/Tn/yHTT4eut+B4y8XDjP/AB/p/wDG66Dbn7pB/nSKjNNtxj5efbml7SfcHUn3MIeHLraWPjTxf6D/AE9P/jdI3hy7Bx/wmni7/wAD0/8AjddCFMjjaMKOmakgt2luFVhwTyQc0+eb2ZSnN7MwYfCOpTwu8XjTxYpx8u+/TBP4R1W1HRJrCNI7rxl4u8/bucw3oZQMnGP3ee1dreXiwDyoQCwGOOi1lszMxZiST1NaSqcml7s1nV5Fy3uzirbTb6SQY8d+L5Fe4KriTBC54Uny+oxjP41dttJmuoy8PjLxmANv37xVzn6x11A4WmSfc/EfzqHVbMZ1nZ2MRvDt0AMeNPF+T/0/p/8AG6WPw5dENu8ZeLsY6/b04/8AIdbhK/xMFHqe1IJN+VClUU8E/wAXvU+0nvcPaT7mBJ4fuhIir4z8X4Ock36dv+2dL/wjt3/0Oni7/wAD0/8AjdbcY/fSZIJ4x7DH+INPodSfclVZ9zB/4R27/wCh08Xf+B6f/G61I/B8pba3jPxfnAIP9oJyP+/dWqs/bJioViMDgEcEfQ1pSrWvzM1p1mviZhS+GXVio8aeLTtYhidQQAc9P9XTD4ZuGBYeNfFYQd11BD9f4K2fIE9oU3jZvIDYDEHJ6g1d022zgEgxIfQDJ/CvUtT5eZGMalWcrGPD4NnMSl/Gni/cRk/6en/xunf8IZJ/0Oni/wD8GCf/ABuurppdB1ZR+NczZ6WyOW/4QyT/AKHTxf8A+DBP/jdR3PhJoIjI3jTxefQf2gnJ/wC/ddS91boDmVfoDmsq9uGuZRtBCj7orKpVUVpuZ1KqitNznoPDsrXccUnjLxcquDg/2gnXj/pnU2q+BtTmt1Gn/EHxbaTK6sWa6jcOo6rzHxn1HSt9bGM+UZmaNtjsWzjHK1qQyLLCkiElWUEEjGRThzcvvDw0pxbcv8+h5FG97pGqW+keMPEHjSxlmCLHqFteiSyllb+AN5eVPIHzDmuyg8JC4hSa38c+LJYnGUdNSRlYeoITmunlijmEtvcRrLFKOVcZBGMEEVx+oeG9X8Pwm68AyW6AOGk0u6Y/Z5EVcBIu0R6nPc9elDcoea/H/gnqL6virJfu5/8Akr/WP4r0Rbk8GyrGzf8ACaeL+AT/AMhBP/jdZSeHLxiAPGni7n/p/T/43W5pXii11InTb6GTTNVVQJrOfqSUDMEbpIBkAkdOafHw30B/lWVWptys8rGQq0JqElb+vxXmYDeHbr5seNPF/fH+nx//ABulTw5dnP8AxWni/pn/AI/0/wDjdbycsFxnd8o/HipJI/JllTO7YMZrLnna9zkVSe9zm/8AhHbv/odPF3/gen/xukj8P3bM2fGni4gNj/j/AI//AI3W/TYflZ19Gz09ef8AGpVSXcn2s77mIfDl2CR/wmni7j/p/T/43UY8P3wm2Hxp4uI2k5+3x+v/AFzro3+8frURwsoYnG4bf8P601Un3CVSfcxf+Edu8f8AI6eLv/A9P/jdKnhy6IfPjTxdwBj/AE9Ouf8ArnXQxpkLvYKpPXPOKliaLMkcKbjgEGTnOPaqjOfctTn3OZbw3dhFP/CaeLsnP/L+nT/v39aanhu+3/N408WhD0c36AD2P7uumL+cQ7KMoOQOh9OKifzHPzAn8OBS9pLuJzl3MMeHGIx/wm/jIn+8L6PH/ouhvDcixyN/wnHjFiqggG+jGfXH7utny3il2sMCTlR6GnSfu0DSfKM4BPer9rUWge2n1MIeH5jhl8YeLyMf9BFMH/yHUX9h3LR5HjDxerGTaf8AiYIcDOP+edbMKvcxgRgrDzlhwW56CppIdqqF8tR5gONwHenzzWjZn7apJXT0MZvDN3sRl8Z+Lzkc4v06/wDfumr4bvDyfGni4D1N+n/xuugKkLjcM+xphJJ5JP1rJ1JdzR1JdzBbw7dZO3xn4vx2/wBPT/43TYPD14zbW8Z+LiwOMfb0A/8ARdb9ESs15CF/jO0/z/xoVSbe5PtJ3WpXTwXMFG/xr4vLd/8AT0/+N1n3/hm5jujDF408XABRuP29Ccn/ALZ/5zXdk4UnrgVB9nimiXzFyxGd2MHJrsmm4+6zuqKTVos4O08O3ssAdvG3izdkjH9oRjoSP+edSf8ACNX3/Q5eL/wv0/8Ajdb62phgj2kuHZwOOfvGpri0mt4w55B647VzzdRSfkcUJVOVXbOWttAupDcbvGni8COQIMXyf3QT/wAs/epR4buMf8jv4vH1vk/+N1rWLH7Xdxvn5nDZPoVGD+YqYjBIPWsY1Z23NKlSSa17fkYh8N3Cj5vGvjA5HBF8mP8A0XTT4duu3jLxf+OoJ/8AG631YY2t07H0NHlsCd2FA7mq9pN7Mj2k+jOdXw9eGfy/+E08Xf6st/x/p6/9c6mh8MXbn5vGni1Vx946gn/xvmtgMqXgKjJ8vqfrUsuc5Jzu5H0qnUkraijVl3OePh27zj/hNPF//gen/wAbpz+G7pVA/wCE08X7jyf9PTj/AMh10EYBG9hkL29fSo2JLEnqetT7SfcftJdzCHhy62sT408XcD/n/T/43V3T/CNxPbJPJ408XjeMqPt6dOx/1dX5lJtiME7iOAOozzXQwbfJTbyNoArei5PVs2oSlKWrOWbwbIFz/wAJp4v/APBgn/xul/4QyT/odPF//gwT/wCN11L/AHTTq6Dp6nKf8IZJ/wBDp4v/APBgn/xuj/hDJP8AodPF/wD4ME/+N11dIeBQM5CPwfM08q/8Jp4uKpgD/iYJ1xz/AMs6l/4QyT/odPF//gwT/wCN10dl80bTf89GLD6dBUkhO5Y1yC3UjsKmDbQS0OV/4Q6Yy7R408XYA5/4mCdf+/dOTwbKQf8AitPF/Uj/AJCCf/G66pFVFwo/+vSR9G/3jV3J1OX/AOEMk/6HTxf/AODBP/jdKvguQsB/wmni/r/0EE/+N11VKn3x9aRRz/wovLzUPh5o93qF1Ld3TwkSTy43yEMwycADOAKKg+DP/JMtF/65P/6MaimBF8J/+RLT/sI6j/6XT11S9PxNcn8Jm/4o9UPUahqJz7fbriusXp+JpMVyK8uIbOzmu7hgsMEbSSMT0VRk/oK4P9nzx8vxI+G0HiNivn/ap4JVH8O2Q7c/8AKmsj9rfxR/wivwE8RXEcnl3N/ENPg55zKdrY/4Bvrwz/gnF4pK3PibwZNJw6pqNspPcfJJj8Ch/Cin7zkuy/4f8B1PdjF93/X4n2ZRTY3WRA6NuU9DTqATuFNP3x9DVe7uIRb7jIoHmBRnPLA9P0qR33K5jPzBSPoafKyOdDrbIt4weoUA8d6kpqKFQKOgFDssaF3OFAyT7UmUlZDqztTU3VtO0bbRFE+18Z+fHb6c/n7VPcSFo2bcYoFUs79yMZ4/xqttlul8tcJGDt8sfdT2b1Pt0+tCfLqTP3k4i3EbLOnlvkFkk8lRySo/l0/Knb4V09mZ1MjhsnuSe1XIYUiB28serHqagv7eF7aRmjGQCcjjmkuZyTZM48sXykoPHnKpwc7l/rTvOjwhDg7zhcd6qz3SwZgbIdeuO4PpUFlHLNdLcFAEHQ/0qZzSdluT7TVJGjMm9Pl4YcqfQ08ZwMjB9M0tc74w8TLosYtNPs31XWplDW2nQuA7gnG9s9EBPJpykoq7OujQnWqKFNav+vl6mh4h1qx0LTZb6+ZyERmWKJd0suBkhFHLH6dOprmNP07WfGlvDfeKbaTStO3F4tIWT53AZWjklYYZXBHKg4I696v+GvDt211Fr3imSK71sqpWNCWt7NgCP3IPKkg4Y55rqqjlc9Zbdv8AM7XWp4RctHWf83b/AA//ACW/axBZQw20P2e3hjhhQ4REUKqjHYCnvDE8gkdAzAYGaWPq/wDvf0FPrVpHm77kTR4YGPC8EHA/WnooVQo6CnUhIAyelAWSFooopDIZv+PiD6t/6CamqC43efBtAJ3N1P8AsmpImLRhmGD3qnsiIvV/10Q+io/NXeyKdzqMlaZPPsCLgh5MhQR3pWY3JIfLKE4GC3pmo4LZNu6VFaRuWyO9FtEVkdpOW4wT9KsU27aISXNqzAnQxXDKf4WqrPtiH2jAyOSehYHt7+wrS13bE8cgGWf5Qo/iIrKhhdlheRi8inO3Pyjr0H41xcvJJ3PNrK0nFFlhtYqeoOKlLCG0LScBmz+A/wD11GWLPu8pypP8XH5/lSsDNJ5kjcLgew+grNKw0+w1d2zzPLJX07/lSodyMwOR60M2SMcAdB6U1kwMjcobnAPf1paAFSRuwdcnI9xmmIrNkAE4GTSH7wAP8Of1pR0DYeCWb5jng/ypqkqcqSD7U9uF3f3v8mo6TBhSgZ+lO8thjIwCM59qUsvCgYXH+TTt3CwwnJpkn3PxH86eRj6etIw+TcemR+PIoW4pbMcFVgfMGU9PWhiGPAAPpSqJJXCrlmPQVbi07cUE4GTzj0/+vVQg56I0jFy2M5v9eu3rg7vpT6vR6biWRfMB5zlhyQelXYrKBFwV3n1NaewlcqGHkzEKswKrkH1xUzW8ox+7k6DqhrXULu2QrtAOGYAcU/y37zP+Q/wrRYbTVmioaHPW/mKzjbgbm69+fSrcdxKInBkKgL8oUY71pQCYK3zIw3t1GO9SLtZmVkXcPx47GqdFrZhCjZLUw2kZusjn8abtyev6Vv8Alx/880/IUPuUqyqSO4FR9XvuxvD92Y8FlLNj5Sq56njNadraxwqOAzeuKkLyc4hJ44+YDNKr5O1lKt6H/PvWsKSiaQpxiMkAN1GCMgxvn81qpFphiuTNFeXCKZvMMe8lO+VxnAH+FWpWC3MbMcARvk/itULm/wDMd4VJ2Dqw6kHpVTmorUJVFBu/9aD7y4Etw0NuSZAuCR3yeg/KixnNuPJmRxkkjI6VW0tSurbOqmIyA/Qgf1/SptWbF2p9FFYSlK3OYKTt7TrcZ4i0PSvE2mSW15GGLxtGk8Z2yxZ/usOV6D61wemXmueFYYYtclm1fTdwVL5UJuIslVRJFUfN1OX9hXas8kMjmFirAnGKiZl8hfk52gMp/XP4VjUamubZo6oZhLlVGouaHb9YvdP8H1TCwnt7tre5s7iK5gLhkkjcMrduoq1ekLcXA9SAPfkVwzeHbjw/cyat4OPlJPIHn09z+4kxknyl/gduBnp7VteH/EGna6Z1WUx6nblRd2crDzIGIyRjv6ZHFQqnu8r3KrYOCg6tB80N33X+Ja27X2f4Gsd2OI2JPQcA0ixTI8m9SQz4XBBHQccfjUkf3x7cmmWf+uEbLty5Psw65oiro868bq6EkkJbKxsR69KT5ZCvIwDkjvkVYQzyEldzevNV7r/XKsiKGIKggYOevb6Giz3B8rJHOT/nin2n/Hyvvx+eRWbqmr6bpjRjULtLcyYCBgTnJ2joPXircMiuBLEwZTgginruJppptEqZUP1BxUh3oFkbcPlGM9zVvToo5ZZJsEjIwD0z3qbU4TcCONSwyecenetY0ny3No0ny8xhzltjeYflP8Xce9QSTJIsC5DHzASFPPAJBx71oXtrDbzmNFyMA/NzUcgHlQgH/lozMP8AgPH9aULKTT6X/I5ZwlrcarKwypz6+1Nm6J/vr/OiT5XWTt91vp2/WlkGQueAHXP51nFaoHsyVOPnPTsPU0hZj3oZtx9B2FJU3LuLwfY1YtQtveo0ilnAK4HYnFV8YYBu4B/D/Iq9eQzSSI8MDqQMEkjNbUk737FwT3XQmk1CMrJ5aswUHJ9D6H0q1BLFIB5TAgdvSsPZ8zRuvzKOAT0I5pIt/mAJkN2xWsq9n7uxpGvJP3kbGnqDaoSBkM+Pb5jU8iLIhVuhrnrH7ese5JGXDEN3Odx/CtO31EL+7u18tx1Yfd/+tWrqJydy6NaLglJW0K+v2rKI76FP9SCsoHUp6/h1/Ood8RCybd4ZfXjPrWjqs2yERqeX6/SsG1DW7m2bPlOcwE9j3T/CuOtaM9OpVa0nZbotb27YH0GKVd0g28lh0J9Kaq5G4nC5xmlZsjavyr396heZyIj8t1uwzI23y/TrzUhy0Y7lT+h/z+tQ7it4NpK/uz0PvVqGVslmAbA7iqdtEKNtRkvygRj+H731pqk+vHvSlQ33WySeh60jgqSpGCOv1qXfcbJ0eGV0R4DnIyyk9PpW0u3aNuNuOMelYmnoXugoHY5PoO9bakHIHbiuyi/c1OvD7NiP9006mv8AdNOrbob9QqG9bFuwHVsKPx4qVmVVLMcADJPtWbDLeXK71jU+WWaNiRtc/wAP6VE307lJdTSVQqhR0AwKjO37UDn5imMe2aoNNr3G3T7A/Ocn7U33ex+71PH0pb27mhNuHjRZSpLbW3KpPoeM96pyUVdmdSSirs0ZJEjXc7BR71mT6hlWSDI+Y/NVOWSSRt0jFj71GnRv941yTrtqyOSpXctjpF+6PpTk++PrVXT7gTQgfxqMEf1q0n3x9a6otNXR2xakro5j4M/8ky0X/rk//oxqKPgz/wAky0X/AK5P/wCjGoqxlX4XZXwXHKB9zUdSz7j7dPmuuU8dK5b4Uc+ClB5H9o6j/wCl09dLEyxjymYL8xC5OMjt/n2o3IejPJ/2pPh3a+P/AAFJJqms3en6focFxqLQ26LmeRIiVyzZwBg9u9eGfsEfDmzvo1+JVrrN3b6jp9/NYzWmxWhmhaJTj+8D82c5PTpXanVJv2hfir408BSeIdX0TwxoEBhij02YRm8k3lHeY4+dM5wnTHWuM07wN4m/Z9+E2qeOrTXdVg1zTda+zy6eZQdPvoDIFV2jxzuTBDZyKVJ8l5PRSSt99r/10NakHK0Fun+l7f11Psp1cHdH17qTwf8AChFOd8gy3b0X6Vk+A/Edp4u8GaR4nsVKW+p2iXCoeqFhyp+hyPwrbqpJxbizKNmlJCfhVO7xG6+UrGQj/VqM7hkZ47dOtT3MjIoSMZkc4UenqfoKWKJYm4yWI+ZjyWpJ2HKN0QvJKYhI0sdtGf4sgn8zwD+dRBRM3mJ5qxjJaaQ/MR6LnoPepLSNZZJLplBG4iPPQKOpH1OapajdG5doVOIF6kH7xqalRU15mblePNJ6A7QIw3RkWztknq5+uedv61rRbfLXywNmPl24xiufY5pzL5SARN5ch5JA6e2K5419W5GMa9tlodBk+lRXh/0WXj+A1jQ310uUd3B7HqD7/wD1qvB4Z7OXcAXCn7xz2966Kc4yehXt1OLSJS3nXefJ3NESrZx0PQj8qnLTE/LGqj/aP+FU1CpqsqA7N/ccc4rA8aa9rCzx+HfCaQXWuTMBNM5Bj0+MjPmyLnPIB2juRUe0SjdnZhMPPE1OSLt3b0St1b/r7xfGfii/s3bQ/DdjHqPiKQJth3/JbI+cTS+ijB+vFXPC+ix6HHJd3vmXWq3Z33d2RuBcgBggydiZGdo4q94b0O00O0aOAvLPK7STzyMWeR2OTyckLknC9BWrTjG75pHVWrxjT9jQ0XV9ZevZdl99yOOQSDIH4ZGafk+lGB6ClqziSZRvr5bGNpHt7iUGQLiKPcemf6VTPiK22bhYaowyAcWbZHGf/rVrx/ef/e/oKfk0MI7EVvL51vFMI3QSIrhXGGGRnBHrTpBujZdpOQRjPWn0UBYqWE0jR7JlYOvGSAM1ayfSmTfdDYJKkHj9f0p4IIBHINHQmKa0uQXL7J7csDjc3Pp8po3tCoBUMpJIIPvn/H8qdN/x8QfVv/QTUbhF8yNnCfNuTPar6IjVN6/1ZFnPtR/wGobKTzIiMjchKkDt/kVPUNWZpF3Vxv8AEW284xVbVbv7FYSXG3JUcZ9adeGRcbGOTwAOuazfEDGa0gidcb5Asq5+73/p+tEtFcxrVHGErblDbczTLNduWcHOxSNoP86lgLBA208dPrTu9Lb/AOr5HA5rz+Zy3OGMbMcjFXVdpwASee+KjZnJ+ZSfxFSdIt3dmI/LH+NMb7x+tJvQpiAnI+U/nSFmz90/mKlQKqh2yTnhaTazHKrx+gpBZjVdt2WUkdDz2o2N5pyMLtHzZ460rIyjPBHqDmjqvPYDH6015hbuKWAXYY246NkU3dgfKhz6kilX5vlPHoaGVgrHGCAcZHftRuGoc5CEEZ+8aQOQ4Pl5A7E0IwZQ4OQRkH1oHJxSuA5GKoWKZzwBnj60iJJcPtweoyc9BkUSH5sDoOBWlZQ+XZ+YR8zsv5ZFaUo80kuhUYc2nQngWOAmKKNiwGWPFSqHL73XHGAAelKylpFYHGP19qfXcrJWR6CjYiU7Z2XGd3I9vb/PvSyBmwoyFJ+Y55xSkgkhcbu9EQwuMg4JxgYx7UXDlFHAAC4A6AUuT6UtFBRFD91uP42/nSbvLkdnU4Yj5v6U6D7rf77fzp5AYEHkHrTb1IS91Bk+lGT6VH80bAE5Q8AnqDUtIpCZPpTZF3juCOQR1Bp9FAWKNzaxzXMYk8wnY/IbHdax7gG1u5IZOT1Deo7f5+tdA/8Ax9xf7j/zWsfWV3aqvcLGD7A5P61nXScbs4sRBJOS3v8AoRWdzJDO8kakjAXnp7/0qZ2E87ZDqzH2IzVbzMMMKxIPPHAHrRE7tOpjYBARk46/SuRN7PYwU7LlHltyYK4YdORyKindllh2xs2UO7BHHPFSvCm9htB5+bPWobXmBH3FiwySaWiE77DmDbVd1+bacAH7oyaxvEXhq01K5h1O2H2DWYVxDqEaguoPUEdGGPX1recE4HcqKeXUkhkBHQEcHFKSUtzfD1qmHnz05Wf9XT7p9U9GcvoPinfqh0DW4F0/WypZId2Y5o8nDRuQAxwBkDpmujgci6+4eInOc+oxWR4j0vTdeskhuYZUuYHL2swiO+CToHViMf0rM0XxFcafq0Ph/X2MOqMHS0lYELeRjgHeQB5nGSopRbjJJnfVw8MTH2uGjZrWUd/Vx627rdd2jp3cou4oT2AyOTSiTbbsJEwWIJPXHt9KcmAQzKrv3YjmnnynG1lK54ODVJpbHlJPuUtS01r62SBZ7iNipUiLbu/AkHt0qSJBYxJbzSs7IoBY4LN7kL/hV+zktZdqXWxQi/upi+3eucc0y402O4tJrhV8lsl4yvB29vx4z+NdDoSUddjd2qJOJNaX3kQiMwHPcgitO3dnQsysOeMjFckrTRyozSSzAZDjj068Dmup0+dZrFJFYY29fwopS8ysPUbbjIz9Qk23rEoHIA4PQf41SuJpJZEjK8qd/GAAOlWtVVwsdxG0btKwU88A456fSnaHG80kzTxoUT5FOOGPU9fTiiMJOT6GM051OXuMS0ne3EypkH+HPOKp3O6PYsa5jDjjI657V04UBNqgAYwAK5u7izFh2EY3Dk9ufSolDkasPEUuSOgqTRn7kckhx1Pyr+fenFZ8K8hKIc4SPAz9TSxsm1WAJOPw/KlRju55BPIPes+az0M0u7Gqy/d8nC+oPP1rRm1BocRLHvZQAWzxms+QbZGX0JFD/fYcnk0KpKN7FxnKN7EzXU80qbgBz2AquXdiNwY/U05Rhh25pWK7yV5BPpUtt7ibb3ZXsc/Y/unhj3/2jUwdsbWQlfTIpthI32IA/Mu88H6tUrqD80YO3uPQ1U/idiKa9yNuxCIef+WipjPDcYqHUzJ5AkVTuhZZBjH8Jz/KrpIUCPt3PvUbrkbWwQRjnuKTSkuUuL5JJoV2Z2DhSVYZBz2oVZHO2OJm+lXvD5jk0xIJFBkt2MbhucEdD+WK0wAOgxWsKPMlLudLwuu5gx2N014MxhP3R+8feprq2NtASW3MxHAHatP/AJfR/wBcj/MVBqZATtkDI/MVpOlGMbk+xjGLMlty/LtOe/Ipkm50CHeFyD8rYp9JXIpNO6OZlnSbFZY5ZXaZcvhdshBUDPf8f0rTs0McbJtfG843HJxSaau21XjAPIH+fXr+NWa9FOVldndRpKMVYY5Ow8GnZPpSP9006n0NupT1WTy7TJUkF1BA7jNTW86Tpuj/ABHcVU1wkQxDjBfn8qz4pHjcOjEEVzSq8tQxqVXCSXQ6DJ9KwNXkL6ltx9z5ic9sY/rW5bSrNEsg79R6GoPs8M9vukRd7DlgO/8AhWs488dAqwdSKSZix72IBTBPv0pyybc+XH/EeTjNTeWVZwh38YBA5/KoArLncpHzHqK47NI4mmh6XFwrblZwfrxWjaaludFliIJIGVIxWXT7bm8gXsW5+lOFSSehcKkovRkXwYOfhjoh9Yn/APRjUUnwXOfhhoh6fun/APRjUV6B6JH8J/8AkS0/7COo/wDpdPXUgAj5lBGehrlvhP8A8iWn/YR1H/0unrql6fiaQj4fOrt+zf8AF3x9/b2jandWHiW3k/si6tgApDOzAlm7qWwQOQR7isvxH8dtQ+LHwQsvhUfD+p6j4xuZLeEXEADJcGNxhiOoJAGe2cnNe9ft2Swx/ADUfNhidmvraKJmUEqxbcSCenAxx714t/wTgkh/4T3xRC0aGU6Yjo5UblAlAOD2zuFOkue8JbL9Nf1KqScLVFu/10Prr4ReF5PBfwy8PeF5pFkm06ySKZl6GTq+PbcTXUsyqpZjhQMk+lLVa5bexjwTGi75AOp9B+hzRKTnJyfUiKUYpdh1srMTO4wz9B/dXsP60y/mWKJx5qJIUO3LAHNSQNJLCXYqN/KFecAjj8azb54rdxb26qZduXkIyw98+tTKUaesiJyfLdCXtyrQpa2+5Y1UBux6fd/xqrjagA4FIBgVIihsEnCgfMa8+UnOTbOOc3NhGAo8xhkDoPU0wksSTyTTpG3EY4UcAUypZDCmXLsltKy9Qpp9c9488QDQtJVYbZ7zULxvIsrZf+WjnuT2UDkn0FClytM0o4epiJqlTV5P+vku76IXxt4k1G0mi0/Q7MXut3LBIAT+7gGM+ZKewGDx3ro/BenW2mWbK8jT6hMS9zcSsWeRic4DHnYCTtB6CsDw5oI0+Ka6u5nn1S7O64uWILjnIjDADKrkgcVs+UMk75AfZzVU5tS5md1bFxox9hQ1XWX8z/yXT735dPTXdU+8wH1Nc5GJEZT9ombHYtxVqK4mjjZ1YZyACQCa6lXic6xN+hsqysMqQRTqxRfTbg3y7vXHWl/tG6O4HylH8JUHI/On7eBX1iJrR9X/AN7+gps9xHCDvbnGcDrWMLu5Lu3nMPm6DgdqYGLOSxJJzUzrr7JH1nTRFr+07jzM+VGUz93Jzj61ctr+CdgnzRueit3+hrGoIBGDWUa8luZxrzT3udBPKsMZdjjHT3NZsF+y4DDjPQdMVSMssyj95vjj+Xk559BSqAcgsF44J9cVo6suZcuw5V3J3RsTTRme3KHfy3Tt8p6+lPhZpZPMZNoUYXnOc9/5VSElkstsvmcAngg4J29fery3Nu3SZPzrpc42Vmbwldu7/qyHNEp6fKfVeKI2bcUfG4DOR3FKskbfddW+hpr/AOujPHfNCdzXTdEnfPes/X7fzrHcuBJGysp9wf5Vo1FdLvt5F/2TUyvYVSKlBo5+3bzo1kUEKeueMH0p6BRbjacnPPpUFmzNCvJMY4jz1K+tTQcx49q4Wkm0jzIu6Q9PmXy+ncE0FNvMnHoM8mmkhVIB7cmkVmeGN2xyval0LuOOZGCgAdgKe/MZVeVTHPrTF+VC3c8D+tOiPysD06n6f5NCGiNWKninA722cBsZGBjNI67WI/Wmf8tf+A/1pJ2JHd8d6dIXYiLcoQd8ZINPKttLyAhlx17/AFFR/qafwjasNClECHPy/LnHUinr8qFj1Iwv+NJMo8588ncamtInupD/ALP3jjA9qpR5n7oRWtkSWFmZj5knEY/WtSfiLA9V/mKWKNY02rmm3OfJOOuRj8xXZTgoaI7Y01CDJaQkZxkZPQUmSM5HHtTW8shWZR/e56iqNgXbkMy7XJx9aVV2NtA+UnIx2NAwSD1I7nqKUcMeetAApJXJGD6U6iigCOD7rf77fzqSo4Put/vt/OpKb3Jjshki70Kg4PY+hojfcDkYYcMPSh5Y0O1mG7svc/hUUjkMHWGXcOuAOnvTSE5JMsVGZouf3i5HbNIHkdRtjKkkZ3elOVFVQvUA5Ge1Kw7t7FeVpGu4wiFQVbDH0yuTiqmrKqSIq9cZPrWg/wDx9xf7j/zWsq9bz7h3UhscY74FZYh+4kc9XRP1IB90n8KSnMMIvqcn/P5UyuFnKyWT/XlvU7vz5qtiRSVQIV6jJP5VPN/rWA7cflUbsWXdDjB+6WORVdxSHxkyRbgPmAK7fQj/APXTvkQdnb9B/jTGLJBtPR2JJHbsM/lSU5aWHcVmZjljms/XdH07W7JbTUraOeNHEke4ZMbg5DD0NX6KzepdOrOlNTg7NdTl9L1iTRtXt/DOv3TSTz5/s68cf8fagDIc4CiTOflHYCullJI8tfvN+g7mquvaPp+uaYLXULdZUSVZIiesbjkMPcEVi6BrU1jq3/CN+IbjdqJVfslwcD7bGB8z7RwpBOMdeM06ekkn8v8AI769OGMp+1oq00ryX/t0fLuum60vbq7dQ0yIqqASABgYA+lbkqho5FIBBTGPzrFs/wDj7i/3hWveSiGF3PXGB9a66D91tnNQsotmFIqtGYo13d1A/hPv6ZqJVt44iFQqp6g5wPw6VLF+7+71PUnvU2xWXzuMZ+Ze9c6lJfA7HOkpLVFPyIwwkiUKwHGOn5Vc0q8WG6MLSqqMSzo5wUOOufwqo4kjDeSMgg4HoaVPLx5ZTHfDDOfeqp1uV3kJRcXeB05AZSOxHaud1GHypfKbkb1/EZq/o8zqRbNynPlnuO5B9vSpNYthLEsij51ZfxGa6akedKSOmr+9pcyMiP5SUPOOh9qkFMI/fI3AHKk/y/kakyoPAzx39a4n3OVD5GjYmQBtxbOD0pJWYvu3EhuaCGZA3Bx2HakT5l2d+q02yhtKRtbFNqWJTJ8gBLDpUrUSK+ncwBf7xYf+PGrUK7Y5JM4O3j88VVsgq2wySWy2MdjuNWGdmDN6nnHpWktJMVLSC9CMj3FSRlVXL8j+H296Yo43N0/nSMcmoTsUnYl0pHj1eVUbaJYPMyOjFWA/ka2t7gjMZx3IOaw1S5h238Q+WEHcD0ZDjcB+QP4Vvg5AI6V1Yd6NHoU9aaZWLSNejYgX90fv/wC8PSquoffPnEg5H3R1GP8A9dXJV33JTcy7oSNy9Rz1FYeq6bDPLLie7U7iGxcsvbPHPv8AyrWt8JjO3K7vqPymeEY/jUsMH2iYQqAuBlyOcD/Gq8jkABMgscE9x9KSN3t/mgYqSwzz15rji0mrnIpK+ux0ijaoX0GKWs2G+k3lZFBCrk4HJNPbU48fLG+feur2se53qtC25df7pp1ZMmpyddi7e/HOKu3NwUtBPGAc4601Vi1oEasXexT1tv38KhuApyP5fyNUKmmM14zzM0UJQBAzdD36DmqC3VwJlj+wyEZK+Y2NpPODwc7eBn61ySjzycjCqueVzSsJpUcxxgtvGMD19a102tAMfdK9vTFZUd9JGuEihX6LVZbiZwyvIcBjwOBjqOPxrWFVQjbcUKqgrbivh08xSQyMVJ9Rng/pTYp3O5S4cZyA3OBTo1+V8NgnGQTxSKqEn94oIOD3rHVq6MWO3RMQpBjZuFI5GadAhhlRWOZCwz7DjiojsV0O1mIbr2xU8nlLeRtiQszjBJGMGl0H0KfwV/5Jdof/AFxb/wBGNRS/Bb/kl+h/9cW/9GNRXpI9JEfwn/5EtP8AsI6j/wCl09dUvT8TXK/Cf/kS0/7COo/+l09dUvT8TSF1OP8Aiv8AD/QviL4ei0TxCt1JYJdJcvFBLsMjKCACeoHPauO8C/Czwl8OfGFxr3g3SXs724tzbT20l23lGPIOVyCQcqK9iqrc2NtcBvMj+ZjndnkGpfMtY/10M6kZu3Kynp1/qcrH7ZZWiIMlmhuS574wCo9u/f25mmkVrG5mUnDyFGYdVAbYfywTTLOwa1neYzHaFILNzlev6YqZI1GnAXEmE2ZkwMZJ5P5/1qqbejYrylB8ysyw+y1tjsUKsa/Ko/QVhywzxvvmUhmyST3NXrGIyIyqnlwGTeRknPTC/kBmtEgFxkZ4NY1Ie0e4ThzwS2Oep7naPLX/AIF7mtlrW3Zt3lqD6jiqz2EYlXYxJOThuRWPsJLYwdCSKJj2IrTHG4ZVR1NMZ8noAPTFWp7G6LlsrJ7g1VlikhUtKhRQMknoBWcoyXQzlGS6GZ4k1uw8P6PPquoOEhiHCgZaRj0RR3JPQVkaLp89x9o8S6osi3t1BiGFxtNtCeRGygkFwSct1qDSJI/F+tHVysc2i2LlLHIV0uJQfmlwy5UqQQCDyDXVXhBtJd39w81nD3pJnfif9iougtKjXveS/l8n/N93Rkp60EY68UBlI3L07GkpnmC446ipCD9m9i2c/hUVOjYmFj2EmB+XNOPUaY2n4Cn5uT6Upbj5VA9+9MII6gilsAI2WYbU+96e1PBVZuF4B9agSQrNtEMrfMPmCZQfU9qpxvrWSZIrAndwVZumB/XNXZsqMXZM0nXBbHIBwahlyzJGO5y30/zippN6udgBY447c1GqBSTkknqTS21IkuhKQFtkUDA3HpUdSy8JEv8As5/M1FSluNkcv+ug/wB4/wDoJqSo5f8AXQf7x/8AQTUlD2RK3YVLBNJC25ME9gelRUURk4u6KTsaUGqq6KzxEZ64Oeabc6oVk2xwebGy9zt554Pt0/OsvbtnG0Abgd3vj+vNSVusRKL7l+3qNWuVvOaGY2ywtIUwR83JBz+g6Zqe1ZnRsoVAztz3FTotu1tcNcHaI03hwMlCO4qvaLK8QZyYtoyVGN1OdpQUkkjFJxa1CfBiKt0JA/WrMCiQNGzbRjcD6Gotsed2wlvUsf5dKVpMDBwq56CsFYtaO7Fk4bbjAXikjIDc9CMGmjMjtKQw2qF5GM89aeFHV+B+ppNWYLcViy4VgGGOPpSbsHcuFOOnelDgjaw+XtjqKbtTzOJMfL/EPf2pjYqfMpT+Inj3oT5ct3HT60BeRtZT+lSXMbR4BHDEtntRZ2uOztchUbmA9TW7ZxLDbIijHGT7nvWVp0P2gSPztVSB7mtlCCikcjFdOHjaLZ0YaP2h1RXP+p6Zwy/zFS1FcE7du3jg5/EV0Lc6JfCxY3VlWRfuuAR71WkvrK3jz5gJyBtUZPJAH8xVmPl3+bOD0x0qvb6fZRrKq2kY3vufK5DH15pal6FKHxFobTSRnVbcyrJsK5PynAO334qvF4y8MSyP5erRM6D5gA3A456dBkVpf2Xpqys0en2qyPjefJHI/LrRb6Zp0crtDp1pEDlTthUFvrxTJuWbO5gvLWO6tpBLDKNyOOjD1qamoixoEjVVUdAowBTqQyOH7rf77fzoKSY/1x/75FEH3W/32/nTpGKrlVLHsKp7kL4UMt+A68nDkZPU0PJlzGi7jjnJwB9adGuxMZyepPqabBjMuFwd5zQGtkh8SlI1UtuIGM06iikWVL+TymD9/LcD65Wscdc96v61Iv2iCM55VicfhVIocZX5h7VyYh3aOCs7zf8AXQi8mBnDOpDA5DA9/f1qbyzuXuGOAR3pg5PHNT2bL5u35mbPCDoT9ayguZma1ZWum3TNGM5Y5PsM04cDGOKTuSevekkbb/C7MQSAqk569+napfkKMXJuxKoV42jJI4JGPXH/ANaoVZxgOv8AwJTx+VUU1coyh9K1QN1Ki33Y59QcfrUgvnNzDD/Z98BIrEyGMBYyDjDc8Z6j2q+V2KcGyzHNHJjY4Oc498damdNqo2fvDOPTmq0lrEn74ZRy25cDO49MY9DmpRMZflaMxtEqqwJBGcZ6/jTlCNuaJlFvaW5ImdrgenNc14q0u38QQRwm3YXVndCSzuN23y5k5zkHIHr6it8NI9wYo2VQE3OxGcDsBSw28Sqqr8oTnJ/iY98+vWkoq2ppTrVaVSNSk7NdTL8J6091LJZagVj1ezH7+Mrs83HHmouSfLJ6E10VxctMAsiggIGOPWub8Q+EtJ1y7t767ilhvrbmC8tpTHKgHONw6r7H1NZlx4g1PwuhPiuL7RYkBU1O1iJAyzf6yMZ2KoAG7Jz/ACiM3BNPY9Z4eGL1wvxPeHn/AHe68tGuia1OtZcLuHK5xmnvujCDo3X86jsLy3u7KK8s54ri3ljDRujBlcetShWnceXy392nbseW4OLcWtR9rb/aJRt4A+97fSp9R09dnmRLwOo/qKvWkC28QUck/ePqamrpjRXLaR1Qorl13MLRGI1AozEny2A9xkVr3hxDn/aH86oXNstvqUd1GMexIAOeCM9uOlT3k6tbjz4poELLljggc9yCcVrRi1FR6oXwRaZjsS77eQiHr/ebv/hT6kmt3gJPLRsco2MZ70xRwT3rhmmnZnHZp6gcqwxwRT4yhcEqVI5yp4/Koqev+rc9+B/n8qSeo0xzeXu3djztHam7zwB8oz0FMqQMqkbBk/3j/hRcLj9Js2ngR2+VcsT6n5jWjeWgMCiFQCvb1FUvDUhMbKxySWPP+8a2a7VCLudGGhGVFehz9wrRvsYbcDgelOsxGbhRIpZfapdTKi8fjJwP5VTMrSDbGcL3IHA/xNcjVpGErRkbsv76KSGONSpBQ7jgdOapWeoxx6fbLJl59uwqPVTtJ/MVd09WSzjViScd659sR6pdw4xlzInuD1/XP51vWqONpRO91GqbfUna+uE1RZZmG3ZtKL0wWArQ1qNI7MSKg3oVVTnoM96ybjabqORuhQbvruFa+sSxNA1ueXOOnalCWjuzmUnKlLmZkScPGe27H4kcUs3MZXGSeAPeo2cuVXYZMN8xA44qZFbbvkwCeFArBK1jkWtyQH/WMv0/Oo6kT/VSfhUdSy2DDcpBOBjk1raWVe3aP7yq38QrKuBsR07jhjV/SZY41kDsF5zzW1J2kjWi7TKl5xeTKAAobAA4HSoqsLbzXDyTxoWV3JBJApxsLr/nmD/wIVnyyetgqQk5uyKtMHE7D1UGrEsE0XMkbKPXtVebhfMAyV569u9KzTszGSa3HKeSpOSOajjYLNIpJyzZAp4A3k5yf6VCypuE/Jw5zz2oQpErMo3YPzBc4qyBvFq5Ukq/65/+vVchQD8o568dantJP36RshKbxz6H2oRaK/wW/wCSX6H/ANcW/wDRjUUfBf8A5Jhonf8Acv8A+jGor00emiP4Uf8AIlp/2EdR/wDS6eupU8fia5T4Uop8FoSoP/Ex1H/0unrqRGmPujqaNBa3H5ozTfLT+6KPLT+6KWgakd42ICoIy5Cjn1OKpy/6ddCFGxbRYJP98/5H+eKS52TXLLsUxRj5/oDkj8SAPwNXLWALHvkAMj8tx+lDtsTrJ+RMoVVCrgADAApjSYuET+8pOfpineWn90VBdQxZWXYNyA4I689RTikE27FncufvD86jQhpXbnjCgmoYIbeQK0kYkkK4LFe3cA+lWPLj/uihpIE29R2a5HxhLJr96fB1n5ghmj3anONyqsBOCiSL0l6HB7Vs+J9Tg0XSJb0wefN923t0I3zyHoiAkbj7Dnis34d+GW8P6NK1/KLrVtQma6v7grgvI3RR6BRgAdqyn7z5fvPSwqVGm8RLdaRXn39I/m15m1Y6Xp1jp8FhaWsUNtbxiOJEGAqgcCq+rafCbKQRsylhjr27/pmtPy0/uiqs6RyW00hVdqhgox0IyCf51pGnC60PKxC9opOWrdyrPp8kYJjZXA7dDVOtwKsjAqoVOu7HWqWp2SczxoP9of1rmq0EleJhVo6XiZsjhV7Fuw9TU0KotrtZud3bvxVYW8YORuDYxncTU2xREgxnk8mudWsc0ea+qH78L8ihffPNJGTn72F75pIo42ba21BjqRSssQkCsvyqegHan5le9uI5G9lXhc5x+ApKWZYjPKyqArNkflSKEUhgoJHtRJLmJ1uPOPN9gOv0FR0YGD8oAPUVIFWNQXQFv4VPb3paMerHXWBNt/uqF/SoaV1G45UE5qEFFZ9+PvfKMew/Oh6tilJ3EmYfaYEzySx/SnwMWiBbrkj8iRUJQG5jkKYyxAB9ApqWJVG5SoyCe3Y05JWM4uV3/XYkopNq/wB0UqorEKFHPFRoae8OkwsOAoZzhuvT6VCZgRiMb3/u5xj6+lSyBC5IUYpu1f7oqm0KXN0Hw2/m2D3HnvgnZLFjpz0z9MfWmwMAg9CMGnWbwwPMJopWjk/hjXIzgfMeevGPwpvlIqKyDdGwyj44IreqrxUlsNbJocV9CCKjxvmRBzg7j/T/AD7UpVMZ2ilt8JGGx947sHsO36VhG24atkvzQ4JAyw6H0pp2tyGw3oT/AFpZVXA4DKo4B/hqFtijLKPyodtipNoew2nB4po/1v8AwH+tNhhUsGZB5h/QelSsi5IjX5QBu9+etCSJV2KMJznLegpks0giIEhyeAM55PtSbV/uiprG3SW9hZkG1CTn3xwKqC5pJIa53ojXsYhDbKmADjJAp8DLh9uMBz/9f9aiVN0jx44DEk+3YCpxFGAAEAA6cV6CSirHox6W6CRyo/Q84zg025ClA2eQw7+4qOa32/vIUXdu3EevrSfu5YG+VchgpwMdx+VNJbicnZplkhdwbuKad7KckD0x1pRFGABtFHlp/dFToaairwoBx07UyJh5kqZ6NkZPqM/404JGeiqaa8EbY+XBHQjqKegnckzRmoWjKENjzF7jAz+FKNhOPJb64osgux0B+Vv99v50NIA21QWPfHaq8TRlHCRnfvYAFCBnJqxHCioF2gnucdT602knqTFtpWI5/tTw4haKJzjr82Oef0qqyaoHMi/Yi+ABncM89/wq/wCWn90UeWn90U1KwpU+bqJCZNn77YHyfuHjHbrT8im+Wn90UGKMgjaKh2NFcwdRk83Ug2eAGA+gxTCxXBUEt2A7mtN9PtxdRKsS4KPknk9V6VLc2sKWUipEvTP1xXPKh9ps4PYzbk3/AFoY5WRyDK0a47A9frUsPlrKhDE4OeOAKZ+67wj8DT1WDZ9xgW4GMGue6M1e4Tr+/lC9Ax/LNR8474qSaJGfMYViAARjnIFRtGohL7QW6KPX1pNK4Svd6CN90/Spiyh9zKrNsHB9agj+zuAz4C9+OafKA0rSGMKzcFfQen6CqSSV2JN2B1Pyuzbj7dB7VWuIIGJllj8w8AKTke3HTvVmJFL42jkEdKiMayvsCrtUhnJ7elCd3dEyTa2HWcSW8EpCou45xTlLsjO2ApI2rjBxzz+P9Kcqo0wCqPb8qbHtyA6jj5Tx29ad7plJNJIkUsFVFI+Y8g9Kc4gkjlVl3R4CFSMgjnt6VEUXaRtG5DUsEaSTlcKBKn6//rpR7FJyujmL3w1Npt1NqnhSZIJDFltPY4gnwpCqB/yzGTk7Rz7VP4O8TpqhW3u7ObStWjfbNZ3GAx24JKH+Neeo9q29imMgqMqf0rN8QaDputCI3kbJPGo8m5hbZNEMg4Vhzg45HeotZ3ielDGQrrlxS16TXxL1/mXrqujtodO80d2gSK6e3kzkEYz9OeDVK+tb6KJ549euRt3HaYomBB6Dp2rhdN1fVtE1JtK8XrbtDJKEsdUiG1Jyx+WNl/hf9OOtdjAsRZW8tXU4xg9a3hib6WJxEa2GklJJp7NPR+mn3rddUairHcWcUbSSXWACWYhd5x3wMfkKoSNdLEyC2uVi83Z5Qwdyg4yDnPNaws7YDiJQf7w6/nVe5H2eWEN88TyKMt1BzXWpJW5kY1FKzbM+XUW2CxuLGdGVQA3UZ6Z/rVd7kg7kt5M5+UA/1reuITNBInkxYI4WQZB+tVYLG0nhLPlZQT5uPlIPoRzilUgpLmsm/mZTozbtcoiZpMnpz0POKmhikmhfy0BO4dPxqG8087jHBIYxMf3chxkHPv6006fq1vbeWuoXAAO4uIIemPeuWNO8nzDhQn9rYvJpspHzSIv61UdViuZVJD7SFznA9/5/pWg2oWiIGkjYEjIwuQfxHFY/lmZ3aRAquxYr9exqaipxXu7iqwjG3KWNFn2eV8yhdzA44H3jW/uX+8v51yllaRtZqvlER7m4GcfeNdKtnaBt4t4w2Qc7e46VtTbu/UrBt+zt6GRqrrJduseHyBznjpUUDbpUjcBSSOAe1W7233XE5VV+T5j9MVSKLkHaAQcg1yzTUmzOfxu6OkLKq8kACuX1QMzG6iwZI3Lj/aB6j8qtXck03ysyKOoAXiq22QD7kZPaqr1FPQ0qVW5LltoIJo3cMuGDxZTvk5GKsOxdizYyetZkEWzVGjdQEKmSMfiM/rWnKiZDhRhufx71mnzIxknFcqGW6r5zRhgOjBT7k55p77t3P4VFCvmSo+1VUE7fU5GBT1Xa3ygA+1U7Gcb22JIx8jZIAI4+tFvjz0zj7wqYQ2zXOyVtgUbcY7/WrS6bboDJuLYGRx+taRpt7G0ac3sZlz9zcep4P1pyHCyH/YNRzhWU4UAUpRTDNgD7nb6is21uZxu5m5p422MII2nYMj3qfNVBsCQshUl8DaRxwOcelWfLT+6K9FRUUkekpXZV1dgLYLnksKyQcK/I+4f5VZ1Rka42BRhOPxqt5cZibcgIb5a4qkk5nBWk5TdhkajYCwGSoBpEVdjIANuSMe1JCAYxuUZGQfwpyKuG+UfeNZMxVxibvNKtIGVQMcY5qzB/r4/94fzqvbxgqvyqZJCPzPQVvQafbr5YZd7KfvGtY0ufY0pU5z2ML4Lf8kv0P/ri3/oxqKPgt/yS/Q/+uLf+jGoruR6aI/hR/wAiWn/YR1H/ANLp66pen4muV+FH/IlJ/wBhHUf/AEunrpQDD0H7vJ4/u/8A1qBN2ZNUVzIY4/lwXY7UHvUgIIBBBB6EVSumZ4Li4XoqMkZHb1b/AD6e9JK7sEnZNjbWNGtLjy2zGw2q394AYz+JzVmGZPJiZiFLKDj04pt0ywWJ28DaFXH5Cn28IjgCHnIGQfp0paObYkmopEhdB1ZRjk81QmVpwsjSuBhtyDA2+4z6VeEcYUKEUAHOMcU2SNWcMPlbGdw61cXZkzi5LUiEaKu0lgOqyJ/9bvU6Fgm52UrjOcY496I3ySrDaw6j+orjfHGpX2o63aeCdHjmWS8jMupXaMyfZbbplXHSRjwMVFSfKtTpwmFdefLF2W7fZLd/16EOkLdeLvGx1yRoZPDWmoF0sKVdbqc/enz2242jvnNd3UFhaw2NnFaW6BYolCqPX3PuepqephHlWu5risQq0lyq0YqyXl/m935+QVS1JP8AR5FjIVnRgw9sdatu21S3X0HrUE6n7LM7KA7Ic47DHTNaw0aOGqrxaLJ60h6Up60VBoYl/bmCY4HyNyp/pUUgOyPg4wf51uTxLNEY26Hv6GsmVWhkZWAIUAYPQn1/nXJOlZ6bHFVpcrv0IERjwByegpksyxsY5Y5N6/h+ppSxLbiTn1qTa8nzsfqzGs/d6Iw16DRIG3LsCru7dunNJtbdtA3Z6Y70q+SpbrId30HQfjTvMZkZfuqB0XiiW+oLbUFAjO58Fh0Xr+dRsSxJJyT3pKKhsGya4RRIPLbKlQRVRF23k2QQdq9fx/wFWZf4f90VM0jTxfMRlcD6j/Oa0Su2NxUmUZf9dB/vH/0E0p/1446qcn6EY/maSb/XQ/7zf+gmlPE475U/hjH+NT2Mu/r/AJD6fD/rA3pzTKkUHymYAnJAqVuaLcryTwxyrG7hWYEgGhbiFn2LIpbO3HqakpgWT7QcsPL2jA759aaV7ibJB1pba4jhsDb3XyxAlklAztJOcEfjSxxu+Sq5A6ntSxiONF6Sv6fwj/Grpycd9hpNO6IWt76eF2htd0TKArbwGOepA+lTKudrEFV6HcMHI4I/SrcV59miZGG6Unp2U+lZl1JcgOyIZFkPJzyGP+ela8sJJRitQkowV73JGmzKWjXdz9B9KEjbzRN98jovZf8APrQo2qF9BSgEnABJrDmFvuSuW+aR/vP0/rUAJEuQcHb/AFqaReBtOQowR6HvUDttYt/s/nzQ9xyJ1HnMFAw54GOhNaUIjtWihdxvKsQO5PHSq+k2pZTPMTzwqjgD/GtCRAsTeWgB+8AB1NddCCXvM6qUHy8wsCsE3PncxyR6e1SUzzFwSQygdyCKcSAMk4FbM6VawHgZPAqDrbs2MbnyPpup7sJBtTJBIye2O9LP/qvxX+YpomWqZJRRRUljDGu7cBhvUUke5W8tm3d1Y96kqOf+DsdwwfSmiWraklFFQn98ep8sehxuP+FCG2MjO6dVUj5WcsPTJ4qzVeGJQGKfId7fdH+1UsTFowT1qpEw2H0UUVBYUVBdzSQxbo7eSds42p1qhHqepNbea2g3SOMExmVM856c8ngenUUwNB/+PuL/AHH/AJrUjruQr6jFV4JHmkgkkheFmjfKPjK8r1xVqh7ImO7/AK6HPeXhtrMM5xgc1KmwTf3lQU+5Cx3Mp2dDxz3NRqY9gRl27+c5/KuC1mcFrMj25PyuCew6GpN3mJ+9z8g+8OtMdmQ7QoT6dfzplwomiTc0isGzlHK5x6+tStAja+rFlijRd6qGZgcNjoKmViYlVThwuen3hWZdW+rSROLfUrWFPmK77UsV4GOjCkVNYBVv7QtdwYEYtjgKCOPvdcZ/Or+YJJdS6ZZmk8uNju7n0qUbEh2ooYfxHvn1qK3VzaNMzBpGciQqu0DBwOMnihWKnIpN8uhOxIu0IzDOcYAIpCmUSTeh3qGznnPvSFlZdpG30Ip2F8iJ/wCHb/31zQvhYDwuWU7lG5cHn9aSMKoDeYuVYEcGmHOP9p/5Uq/f4GQuAPc0JjvqSyCM3b4Y4YnjHrUcq7VXdkYHQjn8qR22O205bPLf4U2X7/rwP5UpNajbRDfW9rfWr2t3CJIZEKOrcggjH8jXIw/2v4O1GRpJDfeEwoZAqEz2GMAIqqMun6j+fY04DKN6dMetZtXdzpwuMdFOElzQe6f5p9H5/fdaG7a3EF3brcWs0c0T/ddGBB/EVW1hWeO3VVJP2hDxXCeVqXhDUxqWjsJPDnln7dpgj/49goJ82AKOSe6985+nb6fq1hqtpBcWM4kSQqwGMFeRwR2I7g8iu6nVVTR6M7cVQh7NVKcrwfXs+z7P/h0Xbvd9nk2NtbHBrBB8uXzcsGBG/H8QzyD61vz/AOof/dNYTfMu7uODU1ZOElJHn4lao2Wjt7sRTqwbaco6n8xUGrzDyjbjJLYLY7Ln+vSqFvNJbvi1dWLkbxIPkB9sc5pGdmklkZy5bqSMe2MVo6kYx5luKVfmhykTAOyx5C7zkk9OOT+YqQOF4Trn7xHNRZBk24JwM59PT+tWbNU+0RmU4UsMD1rmnd8vexzw1ehe0ONk05N5JZmYnP8AvGr1V9P/AOPRf95//QjU5OASegrtkrNo9CirU4+iMi/JW+kZSRwP5VWZQw3J+I9KWR2klaRm696YCQcg4NedKV2zhlK7YvVPcfypvcDuenvUq4Y7lGD3X1HtTDGvmZYZ2cj+n9KLdyWn0KWpoxuUkiGZIE3Af3hnkfjV62Kz24ZWG1sMrHpVbDfb92448rp+NMtQ0d5JagEo48yIenPI/P8AnUy0kn3Kg+aLXb+v6+ZYhSRJGj24KEEewNTSRkNklVB5GTSNG6T7bpSpAwhHYH+f9KWdWTap6YyD65q5KwkrIluI98gZWyp4LemP/rVBcXtzbo81rEZnVfkh37Q+O2e1SCRo5MDkFQrKeh4pJoTG5yQq9snnFO7vdF31ug0+R729LzWP2dNm4qXDZb6CtDVY40szshBYsoAUYJOelVdNIE525IK4JNaV1n91ggfvB171vG0qbZ1ULPWxAYQojzHnCtsVjyOPu0RahDyrMeOjY+9SX26GJyzlgyFVB7E9ayauvVcbWMp1HTl7pPcBpp2kRSwY5BxTJSMCNeQvf1NLBuy5XPCHOO3FRVxt9Tnb6jE+WV1J+8dw/If5/GkdsKyg/MzELSzkKm88bSDmm26tgvIcsSePT2o6XMuti7pkJa6j24CR8n8OlbEkyxEd2yPl79ay9PbyYZ7jqwwoFR20ha9RpGJ3Ngn61vGfJFLqzrhPkikt2VPguc/DDRD6xP8A+jGoo+C3/JL9D/64v/6MaiutHaY/w10SG68LJctfajEf7S1I7IbgonN7P2HXpXTw3GnaPI1q9xeSSSHcd8bydB1yFwOB+NZnwn/5EtP+wjqP/pdPXVL0/GkIzE1C1uBJHbSyKNpZ90LoEXuwJA//AFmp4VkuLXck4SF1woCdF7c/SmzWovZi8jHy0lxgH7wAx+HzZpqsYbQwL82xmUj8eB+tNSsmyJJXSJIwJ7iPy+IIOnoTjirtRW0YigWMdhz9alqI92aBTf4x9DTqiM0PnbPNj3BcldwyBxVCZk+NtcsfDfh+bV74SMIiFijiJ8yWRjhUUDqSe1VfB2kPoejvdX1yX1C9k+0XsrBgGdug2knbgYHBxnNZti8PjDxY99KIJ9F0iULZbtjrNdDrMjA5G3JXB7812MNza3BKw3EMx2hiEcNweh47cVnB80uZ7HoYhLD0fYL43rL9I/Ld+dl0IG1O0VQxmTltv3uMZxnNWIJo50Lwsrp2ZWyDT/LjxjYuPpSgBRhQAPatW49EebFTvqxiRnfvdizY/AfQU28/49Zf9w1NUN5/x6y/7hojugmrRZMetFDEDJPAoqSwqveRLMBHgbjz7gVYqKH5i0n944H0FOxMlfQxD+7Yrtww655xSAnl2OTjjPer+qW48xZhwDw/tWezbj6egrz5xcHY4JxcHYRFLbyo6NzilU4PPQ9abE212P8Atf4VNOo4YdT1x0+tK19UZx2uREYOKSnN0U+1CLucL6mpsMV+URvYj8qWF/LkDUpwx/uxrwKbuUfdX8TzVXs7j63GXoAu4dowCxIH4GmRndI7Y4B2ipLwjfayNnHO4+hwf8KbEhCqo5J5/E1dRW2Ia95/10JFUY3N0z+dDXDx4KsUHQBaJCM7V+6vApixhpAxJwP0rNblXfQlE0kw/fInYnAAI+ppWlUMuxfu8Ak/5NRs2eBwPSm1XtJLYd2XLe6RCN8QIznirFvDbyR+dDiN+QuTkA564rORS8iKP4sClWZlclcFTxgjIIrWNVW95GkalviQk1s0FwkMzlFLE+YQSH4z2qEJmbzT2GFB7e/41Lcq8ji6iG8gBXiGflXuy+vbIpqkMoZTkHoaVSy1jszBpXsP35+8oY+tODtgt90dgOOagj3NM2OgwoHv1qc7WGwYyvT3rLUpO5GCQcjg0W8f2y7jCjAxu3Dv74pipLNKYY1bHRiOufT/AOvW1p9qttx/EUGfb2rSlTbZVODnLyLSKqIFUYAGBTqKK7D0hDyMUxYYwehPpk5x9Kkop3E0mFRz/wCq/Ff5ipKjn/1X4r/MULcUvhZJRRTPMjxnzFx9aRQ+muqsMMOKXcucbhn60tMCI28Zfed5PoXYr+WcVJS0UXEklsRwfdb/AH2/nTFMkbFBCSmchtwp8H3W/wB9v50kkjb/AC4xl+pJ6KKrqT0Q9GDKGFOpsaiNFRegGKdUlLbUKKKKQyF/+PuL/cf+a1NUL/8AH3F/uP8AzWpqp9CY7v8AroZeq7VnBPORnbVRtshZt20/wrjrUl7KWupMqpwcAkdqjZsIpUBSw5xXnzacmcM2nJg2UUJIM9wO4pZCoAXGU/hYdfemN80YbuDg0sfzKydeMj61NybgzYw6j5cYx/SkdRtDrkqf09qQco6+ozSxPtOG+4eGHtQIdbboYFx83JLjsc9aSVAAHTlD+h9KdIDFsHXr+INCMI32nmN+v0/xpvsx26ENFsUa1T5shOCP6fWnXC+SxDHjsfUdqS2X5WXkFgTz1z1pLTQjaVh5z1/ifp7ClRts6AchWH4nNOaKUeW3lv0H8J9aWNNlyXkUhVYHnuc00mXZ3QyWMLcMrMANx564prDe7bTk54HrVpbRXjllaTAVj0Gfzqgs0PmFVnhLL1AkGRihxa6DlFroO5yFAJYnAA7n0p0sc6RKxQIW7Mc/ypYpIZHSaKSORWwylGBHPPUU6ZjLM3mEuCcHJ7UWS33Jt3IAzRtuaQ5PAAH9O9cfrdrqnhrXo/EGhqo0pn3ahp+ML1LNPHgZ35JyOrV2SBE+7Gg/CiVt6ojKpHmLjjvmhNNpXN8LipYZt2uno09n/wAHs1qmXbTWrXUtDj1Cyk3JMoK9Qy5GeQeQcdqqvdNIwj2xsxXl8c4ri9Vt9Q8La3/a2mxLLoFzIz6pZ8KLdzy1yvr0+YflXX6dPZ39nDd2cqtDOqvE6/ddT0NP2rk7dTpxtBpRq0pXhLbun2fZ/mtUSrGFOxM8H15+tOlHMmOgbrjGaEIa5Ddi2aR2ZogCxIDHHtR9k8/SwxGKktwwJVdnqScZ/DP40vzM/OSxNLEVD/vIxIpByhHWgs0PknyZCGG0O/y/NjnjGePWtFB1Kd10J2LGm6gY7VY2TfgsMg9TuNWJdQRw0WwjOV3ZrI07/VJ/vMf/AB41Mv3h25pTqyuy6Vafs4q49Uj2HMwBz02moqcv3tvY0hrFksUbe+78KnkZWjw27coGTxyKhjAySeg5oRv3mT36007DTIWx9rGM/wCrPX606PzobqCdG3lS21CQNwI5Hp6c01htvcekZ/nSXtvBceQk0YcKpkAz0Ibg/pVLfUVOThLmL89yl1NHDdxNZOBlC7ghiewI4PFRRz+YCsqZVv4QeVPsafo+jWUdrKrWo2S4+ViSCASR19yaz723bSrsmEP9m8zc0Z5CqTnK9+PSrqOXKpP+vU7KkYztKOjZoONkrSId3UbvQ4/nT3t5JGyx5Cgs3UEetVbRzJO08bB15288MP8AP8quSyFbZFiX9z/FzyppLla1MI2adyqZzGVaMcJ0B71bkvhL5StHtxKpZs9ADUE6wNET8zPjPHG7mlmjaOCGfaqjcMDGc89/rSvJJ2ZVJyU9GXdX3GBFUZy2SAPSsmtwfLKsWckHK5/u4rP1C2Zbk+WhKsM8DpWuIpvSSHWg37xWh5kC/wB7im1LFHhvmYKxBwAcnNRHg4rmasjBrQgulmMMgTawKng8Hp2p8H+rHzbuevrT6ZbA+UBznPT+lO91Yzt7xct8myuVUZOVY/SooAfPj/3h/Oki3xyssvyqwwVBzxz19+alt4W+1RjPylh8w6YqpK9jXdIqfBb/AJJfof8A1xb/ANGNRR8F/wDkmGiY5HlP/wCjGor0EekR/Cf/AJEtP+wjqP8A6XT1008ohgeQ9s4+vauW+FPmf8IYm0pj+0dR6g/8/wBP71ufvry52q0fkwtyQDhj+dFib67DUS8aAwr5BiXb99mD8HJJx69R+tV9Ot5mBntdrAtuXzZGIJ5/lmpr+ae5drOzMbSYw8oB2xg/jyfar1vDJBAkKNHtRQo+U/403LTl6GCjzS5iREICkkBsfNjp7081ETImcvGMn+6f8abKlyw+SZFP+6f8amxvfyEureG9QRS+aFBz8rMmfxFcv8Q/s32FNGs40/tTVVNrDtK+YkZx5kihuG2jBI6nj2rrf3wGWaIDv8p/xrhfC39o6/4t1DxPPcwNpI/0PSVRxJGyD78wIPDMcr64BB7VnNa8q3Z3YNJc1eW0NbPq+i+/V+SZueHfCHh7SNIs9PttLt3jtUUJK8Y3uw53k+uea17LTdPsZZJbOygt3lADtGgUsB0zTrgzqikbCAwzhTwM/Wpf3396P/vk/wCNaKKS0OOdadSblPVvVv1HlgMZ7nAparIZZJS26PEZK/dPX86l/ff3o/8Avk/402iFK/QkqG8/49Zf9w0799/ej/75P+NRXnnfZZfmj+4f4T/jTitUKb916FlgD1APNFRnzs/ej/75P+NNdplA+aPJOANp5P51KRTl5Ct+9baPuA/N7+1SVFGkyRqu6M4GM7T/AI0799/ej/75P+NNiTfYc6qylWAIPUGsq60+YSr9nkVUJ53Ju/Drx3/OtP8Aff3o/wDvk/40m2fP+sTr02n8utRKmpbg0m7tGRLZyR+awwyKeufYUxWxEOAQDzmm3huRdTIWjVQ3ChTjH51EpmB+9ER3G0/41yStGXunnNpN2RYjGH5K7OSQT1qJp1Qr8yJnp0GaRvOC/u2jx3O05/nUSxuudogGeuEPP61LsJyfRE7MzdTmm1AFuIkO0xMoJONpBA/Ongyt914j9FP+NS4+ZKl5Fi4WO4Fvuyu0kEA9Tt4/lTFYqeDiktmkW7gDNEBuJ+6fQ+9PmhmhlZXaM4PA2nkevWtqi5oRlcpXd5W/qwKu4ZbgdvekZs+w7CoyZycl4/8Avk/40YmPRo/ptP8AjWNvMObyHUUzE396L/vk/wCNKvnbh80f/fJ/xpW8xX8ixCDhsZDYOKrqcRA4J+lSW3niQvuj+VSfun/GoE88oCWj/wC+T/jVNKw29tCRJBuBVsNnjsakukto7L7R50izSNhEDDG8nJ/DvVWWOfIkVoywOcbT8361KJZ/sc6pJEu6MlSVPDAfXj0rWhZSSezJ5tGmhYcrHksCz8kjoPYU5VaR1jX7zHAqvF5iRRRx7OVG1VUtx+f61rabazxzeazwt8nGFJwT+Pp/OlCk5y8i6ac7KxowwxwptjUKKX/lqf8AdH86T99/ej/75P8AjUPmSi68tjGpK/KcHB5+tdqieg5JW0LVFR/vv70f/fJ/xo/ff3o/++T/AI0rF38iSio/3396P/vk/wCNH77+9H/3yf8AGiwX8iSo5/8AVfiv8xR++/vR/wDfJ/xpk/neUfmj6j+E+o96aWpMn7r0B7ZXuPOaSQjGNmfl/Ks6TwxoDrEp0yECI5QKSMe3XpwK1P3396P/AL5P+NH77+9H/wB8n/GlYrmfYoWXh/RbK5W5tdNhimUllcZyDjHr6ACtOoVaViwDR/KcH5T1/Onfvv70f/fJ/wAadhc3kSUVH++/vR/98n/Gj99/ej/75P8AjSsO/kEH3W/32/nRF1f13HNQoZ8bVaMFnbnaeOfrUiJKufmjJJyTtPP61TREZaLQmoqP99/ej/75P+NNRpXXcGTrggqeP1qbFc3kTUVE7SIpZpIlUDJJBwP1qMS3BAbanln+LBzj1x6U+UTnboPf/j7i/wBx/wCa1NVVvNN1EQ0ZBR8fKfVfepv3396P/vk/402thRer0/qxhTZ8189dxpUZSux+meD6GnanHMl23zR4b5vun/Gq2Jv70X/fJ/xrzZRtJ6nnybjJqxOytC5Vxx0PvSFSuGU5Hr6UO0vmMrNHsbBPyngkdetMIuI3+9Ef+AnBH50NLuDfkThVkUy7tpGTtx1x6UiMmGEaYbtu5qKcTx42si7RwSp6/nQ4mYeahjHPzDaeD+dOw+byJFbzBskPP8LHsfT6U0cZjfjn8jTGEzLvDRf7Q2n8+tOAnmX70XmAf3T8w/PrSt5iu+xIyq0Ihm3DklSO3p+GRSQHZMpZSGByRnNQStcGbYnlsUAHQ/41MPOYgM0SMFxyD0x9avluvQFK72J5LyaRWO8ryMBew5qAs0v3iSyjv3FNMc4iGZIAM8n/ACabskjkIaaPI/uof8aTu92OUpPcW5jWQRM5cgc4DkAnoQQOCPY1U/s3T/tP2n7FAZ/m/ebPm+YYbn3q8m5yUGzOSVyDgn060wPOp+UQKR32EkfrS+Y3OVkJb28NssdvbwpEiAKEQYAx2/p+FSFW877p+96VFvuv+ekY+ikf1p8RnztMyKexwcD680rJ9Sea4nTio5uif76/zpzi5B2u6cdiD/jSvBcLbrcMYseYoUbTyc/WiMLsl3aehNtDRsW25I27W/iHeuHU3fgzxEIRD5vhrUGZvNDFjYznJYuSeIz+AXH59gfPPJaM5/2T/jUV1aR39pNY3sdvPbXCGOSN0JVgfXmplG/qd2DxipNwqRvCWjX5Nea6fds2WFZdpb7wI4weOelObiNfXOcVxWnapfeG9Wi8M6vDK9lOdthqTfMrHOfKfGBGQBgdsCu0RZXTMjRjjghTk/rTjaUbEYrCzw8l1i1dPo1/W63T0YKpb6dye1LOxaOI7mYRyY5PZhj+lRs0zcAxBR0G0/40Ks7xvGvlMxAKjaeSDn1q6aXNa+5yN6WSG6d/x77vTf8A+hGpF6iq+nNK2nh1aPa5OPlPTJPrUq+duHzR/wDfJ/xpVF7zJpv3I6dCRfvceh/lQORjvUaedu+9H6fdP+NKgm38tFx/sn/Gpt5l38iZ02KFZgvcjvmm7V/56AfUVGvnMQpaPJ6Haf8AGjy7n/pn/wB8n/Gna+wX8hZlP2pX4OYiCQe+RV7TYEluHaTny1UBT75Of8+lZqCdLwMzRgeWeNp55HvWjpC3O6eZWhZm2jBBHTPf8a2pxTkrlUXeexrVna75bQpGc+YTwR2HerkbSuD80YIOCNpyD+dY+pmc3jqzR5GP4T0/Ot6vuxZ1V5+5tuUoGW1Y2gVRHK2+I91I6r9O/wCdW1mkDZ3Z9Qeh+tVZrO7vIzHC0YlX50baeCPx/CoGuX2NHK0cE/Ro3UqQfTr+teerx66GEnOUVNJm0bRriKOaFlRGX1zjmoNRkYER7uICCM9Mg5oS8uYbVFiMDJsBB2nv+NUpHuJIZHZoyx3Z+U+p962qW5Pd3D2iTSS10Omf95AHH3tu5cHvihiHtiThwUz068VkWN7cQRpEzRvGoAB2nOPzq5FdYifZLG+0/Ku055/GuqNSMo7nQq0WZ8EfmP8AMdqD7x9KnvRE9w6oQCvfqG4qtL9pZUB8sEknAQj+tCRzIQzvCo9MHJ/WuO2ljl5tLWHApFljJGSOnzD86q2zA7ljbIV9wYHPGf8A61KsbqcgQZ/65/8A16YyyqDIGiyrH+E9Pzpq1tDGUn2LJ61Zt8xpGwJzK+D7AGqX77+9F/3yf8ans2mE0aM0ZQuMjaeOeo5qIrzNIy8iD4Lf8kv0P/ri3/oxqKPguNvww0RT1ETj/wAiNRXpI9RGZ8Prhk8EwW0WfNm1LUcY4wPt83ft1H6105t5GaO0abyl5kIgyvAOME981yvwvUv4Ve6jcb7e/wBRCjqDi9uMg/ma7O0bzLiaTt8oGDxjGf60pPRW6kWvJpk0EMcEYjiRUUdgMU6Vd8bIGZSRjcOop1FIszG0nzJjK+oagp3EhUuCFxuz0/DH0qS0tF0+WWQ3N7OsoQHzpi4TaNvA7Z6n1PNX6QjIweQaYmcj8Utan03R7XTdP3tqWs3AsbVUk2MN33nB6jauTntW/ZWUWnaXa6fHI7LCixiQ/eYgjLH3J6/WuY8PznX/AIg6heecstjoqfYoAsgZWuP+WjbSMqy/dzk5BHvXYXYUwvvIChSST2Awc1FPWXMduM/dUI0La/FL1a0XyX4tkk7hImZlLKAcgelQwEMnlxsOPvsD1PtT48zIGZvkI6Dv7mpFRF+6ir9BitNtDgs5O/QFVVGFAAp1FFIsKhvP+PWX/cNTVDef8esv+4acd0TP4WTHrUTYa5Re6Asfx4H9fyp0r7TtXBcngZojQqzMxBZsZIGKSB6uw+iiikUFFMaRFHLZ7YHJpPM3f6tWJ9SMAfnTsxXRn6nGrbpF+8rYYY7EcVTKBP8AWHnH3R1rYWLMU0eeWY5PvgVhSrMs2z5FTkOTneD7dvzrlxEUpXOScNbskLnjAA4xx3+tI3QMO/8AOsyLTrtLjzm1m8lXGPKkAK5z1yMHp7+tB02+IJOtXIQ7gAEUEE98+3H5fljZdzKy7mjRgZ3YGfWq+nW81rb+VPeS3b7ifMkABx6cVYqDNoY6r58DMoIVieR3xWkjR3UaqyEbAFG3r04+tZ1x8ssC/wC0c/XaaeGKnKkj6Vqp8tk9hwlytl4Wke1WUOyHqxIB6dQKqTRNEw7g8q3qKbubcG3HI75q4rG5tmHIYH+9wT/TvVe5U0SszTSW25TXng9z1o24Yhu1OLBSAgGB39aEXc53EhByfpWNiLD2+SFR/FIdx+naq8f+rFSO2+Td79PSo4/9WKGxSeotQSMvnGAYzLjAIyDk4NT1Z0hkjvijQqzS8rJxlcDpWlBJz1Fy8zSNWC1hgd2jQAuck49u3tUiqq52qBk5OB3p1Fdx6iilsFRSRrI5Vh/DwfTmpaZ/y2/4CP50IGrkdqzYaNmLFT1P4/4VPVaN40uZ+SWZgCFUnHA646daf9ojyRiXg4/1Tf4VTTuRGSSs2TUVEJkJwFkJ/wBwj+dB8yTpmJfXA3f4VNiuZdCWo5/9V+K/zFCxupyZ5G9iF/oKJ/8AVfiv8xTW4pP3WSUycssLleoBxT6KRbGxhVjG3OMZ56mnVHbf6hMelSUPcS2Cims6qMswX6mhG3DIBA9xigdxkKg5buHbH51LUcH3W/32/nUlN7kx2CkCjJbAyeppaKkohePdIRyVYhjuOQMdgKmprttUtgnHoM0wSFh+7jY8dWG3+fNVqydEyGBWWW2+bI8lsDGP7tTHzIycK0ik568j86jOIZYdx4SJh/6DUo85hn5U9ARmmyIq11/WyKWrKHgjmwQQcEGsytm4hkdWG1NrA7gCevqKyFRmbaoJNcWIhaV11OaunzXFl/hPqoqS3UkbnxsHALevaldUSNGb94eRx93NQu7Ocsfp7VjszPZg7SJuG5gec81L92Rn427Rx/e4pu0zIefmUck9xQSsiiNe33c96a2BC4VXVlzsfjH9KiVXMyqrBcHk96fE4X5H+6T+R9akUbJ5CwyACfz4/rQugWuNODGXj+Ujh/f3qNeuCcA04ZicMvKn9RRImMPGflPQnsfQ003zCYsY2hi33emPU0P+93SYwwxuA9PWib5gGXOzoB6VGjFX3D/9dS9NAb6CVK26SJmVd0iDOP7w/wAabIoADr90/p7VFHyxl5B+6vt60loC0H9On50qKXbH5k0IpY4H4+1PGD+7U8dWahIEhrl5MJGq7EH+sY9Pw/pUcwxFtE0zr5q8O2R+A7VI77vlHCjoKjk+4B/tr/OrjLXQmWzHoQBtIGD3xzTn2KQCp6ZyDUdOUfKzZGQOB6mlF30Y0V/EFlZ6jaf2XexLcW9yjGVDkbl4HbkHkVy+n6td+GfEFroGs+dPp9223T9RIGFbPEDgD5cDAU98V2M0YWRW6nbge3NVNSsrXUbGaxvYhLbzIUdckZB9xyPqKmpvod2GxUYXpVleD6dU/wCZef4NaPo1ZYYYj0oUlWDKSCDwa5DTNYuNA1y38M69I8iXW7+ztQKBI5OeIDjoyrjGetdeOtQncyxWFnhpK+sXqn0a7r9VunoyC2ffvjRIx5bMp2jaOGOT+ZqUmXYW8hig4LBl7n61HbSH7KpYk/M3QZ/iNSwjccLucMNpRv4s9q7J1IOo7x0OGmnyLULdxIiSBSAy7sH6ZpRncOefWldTDP5cX71RjnIG32Pr+FSWwVDIWBmUA5YkAoO5A7gVHsbuyZrHsyMNh9wHGaGGGNSG3YRSTKxcpIUK54x6/wAqqM8sy7UGwDI3nrRPDyhuS5W0Y/rP9I8/qKWNp3S4jjmMSkbcoSG47g9qhjWY3YVpAo8lgSBnIzViJVji4+g/rQ7Qs09SY3YQvNFIsqzMZQMMzc7h7+tQxNIszRSuZGwGDnqw96lpJYRJDuyVYH5GHUGoU3JcsnoU0+hpaK3Mid+DT9bgjkgEjorEHByM5BqHQVdvMd9oZfkIHfvmr2oDNnJ9K3Uf3VmdtPWic6beBEYxwohPdVwaW002CSYRvc32GPG2bpz/ACp8n+rNPBIOQcGuPljpdHPCtOEr3I42cNJFNtEkTlGx0PoR+GKlWVVUR7PmJ3BwfSlRN87XAlMc4UZcruDgdmHf+dQSSW5kaGa4htp8GRFZgFYeqnt9D+tXHlitzV0nU96lr5dS358sk2Xc4bgjPFRbDlu2OpqOC6Sa3WNWgkdCSXRs9fYU67zuWXDOeCfXpzT0kr3uYzuviJJRt/djBxznHWmINyMQPusc/SnE74kcc8Y/w/z7U2BtrHPTcQaRPUihYB3hBJ2AYz1waljYi5hVepcH6AGo7gssitxkHafTFS2q7Z0LHLFxk/jQ7bkLsRfBc5+GGiH1if8A9GNRR8Fv+SX6H/1xb/0Y1Fekj1zI+Ft0bfwaQkahZNV1MGQ8hSL6fqK63RHto7FIY5kLDgru5HoPyxWB8Jdo8IGI7cHUdRYDHXN9Pn9a6SWxjdT5eFznKkZX8u34Um/IhxfNdFyis1vt1vERvQJkAFgXx9Mc/nUsdxdIw8+OJoeAZUbGTzzjsOmaEk9mL2lt0XayvFurLofh281NthaKPEavKIw8jHai7jwCWIGTWoORkciuN8afbNS8ZeHdBg2/YFd73Us7TuRBiNCpzkFyO3b2qJtqOh3YKlGpWXP8Ku36JXf37LzNHwJoKeHfDtlp8e9nbfNcvKQXaSQ72JI4JycfhWxMzSgR7eJAQOe3cmpJtxmAGTuUg89OetEWDLuUfLt2r9P8/wAq0ilFJI5cRVnXqSnN6yd38yVVCqFUYAGBS0U12C4z3OB9akB1FQfMhDMxAZ8YJyMf0qemFxCQOpA+pqjdTxzWcrCbYm04AOGP9RViJUcvI6qTuIDEdhTLqQPYyyRozfKR0wf1q46MxqNuLHp8m7y4nZieWY8t7k07ZN188g+m0Y/xpUk3OUZdrjqO34GpKls0SRH+9xjCE565IGKQxs3+skOPRflpzsvKnOT7etJEpXI37h/Klcdh6gKMKAB6CloopDGR9X/3v6CsvV49twHHRh+takfV/wDe/oKrapF5luGyBsOc+1RWjeLMaseaDMenf8sx/vGn7YV6yFvZR/U0jS7TtjhAB6ljmuFLzOK1txoRiN2049TwPzp6Jtb5mXPYZ71Tm87cUkYsGypOeM5H5VYNNpIlS12I5wwnh3Ag7m/kakqORiJoO43Nwf8AdNTHYenyn07UPZCW7Ku+4UBXEe4/xKpK/Tr9ael1c/YvlVcAEtiJxuPt68YH1qZlZetTv8tkq888/mT/AIV0060bO8VcFB66lBDcOnBjD7RnKkDJq5KQsSqv8XzH+lRA4NLc5J/dnlVGPfjpWEpqWysNaIQdajVlWIMxwKcjBkD9sZqO2UeUjH5mIzuIqLaaivqrDi7YysbH68UQrJ9ugcv5eZFT5Tzgmn0KC08KLnc0q4/A5/pWlGTU1YTR0lFFFdp65WulvmnjFu9usH/LXeG34/2SOPzqhJpNw73Sf2xfKJiWQgjMWc8KcdPr6VsVFK21mOcHZx9aaQpMj06EwWqxtI0rAkNI33nxxk++AKmeRVODnOOKWNdsaqBjAAqNl/0pGY5G0hR6H1p9RapE1FFFSUFRz/6r8V/mKkqOf/Vfiv8AMU1uTL4WSUhOASegpaZOcQt24oQ27ISAERDPU8/TPanSNtRm9ATSgYAHpUdz/qj1xkZI7DNG7FtEdHGqgHGW7sRyafRRQUlYjg+63++386kqOD7rf77fzqSh7kx2QUUUhOBk8CkULTXbajMckAE8Uu5du7cNvXOeKjJMvyoSq8hjjn8KaQmyIqz3kLSf3GIUdByv51ZZlXG4gZOB9aif/j7i/wBx/wCa1IyKzqzDJXp7U5PRExVm/wCuiHVj6n+7uDGvAYbyAOuf/wBVbFY+rNuuwNuAi4B9c1jW+BmeI+EgVsRLnlckEUhjwc5+T+960DmA+zD9R/8AWpEYbSjdOx9DXGcYjv8ALhMqB/P1pzDcvmKMf3gOxpkilcg+lLGxU5/MeopX7iv3HH94M/xjr70+Nt8Zi/i/hP8ASmMu3EiE7c8H0NGN5ygw3Uj+tNblLcE+ZSh69V+tEJ4YFiF6nHenSqT84wGA+bB/Wmuehxyw5qoqzv2E9BdpVHX2DA+o/wAmou5qWGQA7X+76+lNdCshXqOx9RUvbQT6BG4T74yjHBFJMPL+YnKnoQOtMkI8yMcYBP8AKnRnzJfJb/Vrh3OOn0oSvoF+g9/kjCdzy39KH+VAnfq3+FOI/eGVsFeo9/QVDv3MTnJzzSY2FJLnywccb1H6/wD1qePlOWXPoKjlLt96TK7lIXHcH/A04rUlrQWQMUIVtp7Gnx59egyamW1lNu0xGFAzz1NQ9E9z/KlZrcqzW4shykY9Bj9aZT3+6n0po5OByaTEynq2nWuqWMlneKxjcEBkO14yRjcjdVbk4I5rF8M608Wry+FdWdV1K2j8yBwpCXMGflKliSzKMBvfNdSkTs+3GD/tHH86x/EehQ6qIpFkFrqNoS1peKgZ4WPXbnjkcc0nF7o9DCVoOLoV/hez/ll39P5l213SLtmjPAiqzA7m4Hf5jVtyUjMcb4c9XA/QVheDtej1PT5rZkW31OzkMV/bh9xicknGcDII7jg81reZuTMfzHGRWjd22jiqUZ4Z+yqK0l/WnfyezWwke7zW3YHyjj35qZGZWDKcEVGiBRwBnufWnVDepmtC3FqDQxFWii2AHgDaP8Ko22fIQsCOOh6ge9EvVNwO3dg8Z57U+rlOTWo3JyevQYv/AB9E/wDTLH/j1S/8sx/vH+lR7W88cHmM9vcVYOAiqFywGTmhoUepAzKoyxxTiXkRf+WY7E8kj1A/xoG0NuCqG9cZp0fzSDPrzSVgsOtJFsrxXDFYWBWbILEnsa07q7t/spKusgkU7dpzWM0i+bt5ycnpUMG/zpNybSSMIpB3Huf5V0RqSlFxKjWcPdWzJZP9WafUU7hFRWVg0g+7jJHGecUecpYKFcsenykds9awdOSWqM+ZXJ4uSy+qn/H+lZ95pUV9ceY80sfygNtC9FJPcH1NXreaMOwbIcD7p96kTy9rfPgkYGRWdSjGpHlmjpoV50pc9N2Zl2VlHp00jiR3jl2qWbA2Yz1wBxz1rWuo2hdEfGQo6H3NMIRUYbgxYYxjt3qusvlyfZZ5PuoDCzHqv93Pcipp040o8sVoa1arxF5zfvfoOtPlj8ljyOMn9DSp/F/vGiJWZyxXaSBwT2H/AOunjYQRk7tx+btWr1OOK0Qlwu5Wx/EM/jS2biR4nHQkGlb/AFa85GSKZa/LdqnYsGH1zzSB7jPgt/yS/Q/+uLf+jGoo+C3/ACS/Q/8Ari3/AKMaivSWx6qKvwx+XwZBNx+71PUc/wC6b6cH+h/CuwH9TXIfC9lbwP5TB/m1DUl4jJHN7P7V01ncrJaxSFXyyg8Rtj+VOzJ5o33LVVJVNs7zKu6Jh86jsfX/ABqbzk/uyf8Aftv8KDNGQQVkIP8A0yb/AAqXBsOePcqWF1DFYxRSSDzUXayAEtke3WuW8E3UWveKPEmvRbpFgn/s21Z4kGRFy+1gN2Nx6E4ra127jsdA1SQxznyIGaLbCWbp8oHHPPaqPgrTPsvhOysZbY2u6PzbgJbFGklf5nOOduSaPjmunVnRRl7DC1Hu5Wivzf5L7zpJW2W0sjtsZxxz044FTDbuG3GMHGKo2bt5auGcqjMsYMTfcycc464xUy3EaSfNE6EjqImwf0rVxZxRqR3uW6a67hg4x3phnXaSqyE44/dtz+lYV5/bV1KstvfSW8JJLQ/ZA+DgDG7uMgmo5X2NHOK6m1IpUv8AMWaT7ozwMdKcLiPcwZgm0Andxjr/AIVWsrgwwBb2VmmH3mMRUHP4VKkkbsZHRzkAAeUx459venyvqiXUi3oxYD50MS4JUKCxxwT6fnT7z/j1l/3DSiaMAALIAOn7pv8ACoryZPssvyyfcP8Ayzb/AAppPmWgpOKg9SeaMSLtyVOcgjqDRC+9OcbgdrY9RSGZM/dk/wC/bf4VA06iaQJvBK5GY25P5VKi7bFucU73LK/eYn1psC4jBwMnriq/2pRGFhEjnpvZGK59yBUUR2NtmEjqSScRPjJ/z6U+RkutG+jLySKzELyB1I6U+oUuImUFA5XtiNv8KXzk/uyf9+2/wpcr7FKce46Pq/8Avf0FK67kKnoRioo5ky/yyfe/55t6D2p3nJ/dk/79t/hQ4vsCnG25hSKY5GRuqnBoQZcVZ1cqJlkCyYYYP7tuv5VSWVQw4fGf+ebf4V50qbjK1jzpuMZWuOb5gQeQaj/eooG0SY6kHBpxkUE/K/8A37b/AApPMX0f/v23+FKz7ENx7kdzucwGGQKdxwSMj7pqaMMEAkYM3cgYFV7kqksLRKx3kk5jYAHbj0p/mPnPX28tuPxqpQehKmrssI5U9iO4PSrUoVrVQGAAA+8OnX/P4VRhLMGZkdQDjdsbH8qtCRfspjO/dk4BjYenQ4rSnTnZq3Q2jNW3Itq95F/AGlKDja6n8cfzqHzF/uyf9+2/woaVc/df/v23+FY2fYnniK0ckbswUYOMg8c/Wo7TIi2nHBOMdKkWbaePMH/AG/wpUmXyV3IzE88xt0/KnZtbE3jfcKu6JAHme7Z+VJjVPTpk/WqRlhP8Mq/8AJ/pVmye1iMvmSTqAdzBVcA9umK2w8bS1NKbjzJ3X3m3RVKxdkjZpPNBc7gnlsdg9OlTvcxouSsp9AImyf0rscHex3qpFq7ZNUE2GuEjPXhvyOf54ppk8w/OJFT+6I2yfxxTQY1n3IZ1+QDGxjxk+opqLQpTTLdRKfMkDL9xc8+pqPchADtO49DGefyFSCZP7sn/AH7b/ClZlcyfUloqLzk/uyf9+2/wo85P7sn/AH7b/ClyvsPnj3JajuP9UfqP5ik85P7sn/ftv8KZPMnlfdk6j/lm3qPahRd9iZTjyvUit7q6DH7daw2yADEgn3Bj6YwKmmljIQCWPBcc7h2Of6UStBKmySJnX0aJiP5VWkhso412WgCqckCA9O/aqjEU59mi7HLFIMxyI4yRwc9OtOIyCDyDVeP7KhDRwlT1BEJ/wqTzk/uyf9+2/wAKlxfRFKatq0LAT5YVvvL8pqSqyTL9ok4kxgf8sm6/lUnnJ/dk/wC/bf4UOL7BGcbbiwfdb/fb+dSVXhmTa3yyffb/AJZt6/Sn+cn92T/v23+FNxd9gjONlqS0hAIwQCKj85P7sn/ftv8ACjzk/uyf9+2/wpcr7D549xfKizu8tM5znFSVF5yf3ZP+/bf4Uecn92T/AL9t/hRZgpR7iP8A8fcX+4/81qaqrzJ9ri+WT7j/APLNvVfapfOT+7J/37b/AApuL00JjON3r/VhZ5BFE0hBIUdBWLK/m+ZI3B3Z/OtS8k327rGJMkdDE3P6VkRthWVo5VU9SY27fhXPUUnJKxz4iaulcWP/AFcg9gf1/wDr1HTlnjB27HCngkxtn+VRs4VipWTI/wCmbf4VyOLOZyj3Jfvx+X/EM7ff2oRMjcx2r6+v0poZFjMkiyYHRdjc/pSvOJhuIfcByPLbp+VVyu2qDmj1Y/zQW24xHjbgfz+tEp2jy1GB1z/eqv5i+j/9+2/wqRJY2HltvHofLbj9KVpMPaJ9RY22OG647etOuCFMY42tnYf6H3phaEEgtKCO3ktSloZYWg3Sndyp8pvlPrTjF7MLq1rjafkqhX+9g4piuoY+Ysg29R5bdfTpTDMrOSQ+f+ubf4VPK10FzJdRLnPksw6r835VLENtv94FpDuOP8/5xUbtG0Z3rIVyBjY3PPTpUqyqSZWVyB0HltyfTpVKL5dhJxvuOkO1Vj9OT9abCoVmk5+nvUZlUkkiTP8AuN/hTmlUIFxJk8n9234dqmzvsVzx7g39ajBaFImPzFZFP15p6BZnCYkHOc7G4x36VG27yzJIjrGHUxvsOH+btxx2qoQle6QbxbTNx7yN4lJxskGAP4h+FUtSjWO5Cr/dGfrVeykjFxF5m8jIyfLb/Cn6hIPtkmRJyeP3bdPyrSblON2jadZThdiI6ryyBj2z0/Kh5nb/AGR6LwKg8xfR/wDv23+FHmL6P/37b/CsfeMfaLuSGgdaj8xfR/8Av23+FKJVz0f/AL9t/hS5X2Fzx7nK+IdNk029g8ZaVDuuY4jHqES5P2iBWOcKPvSDHGa6PSp0udNt7iNspIgYeo9j6EdCPWprNs2EZ2ycO4zsb+8fb61x+jQW/g3xNLppnmGi6tKZbQeWfLtZz96PcSPvk5VQPX8HVjKM3po2elRaxuHUZS/eQj7vnHqvWO68rror9nS0vnwKPlhkJ9XVv5AUn2pu29R6LGR/SjkZ53NHuMm3KoYcFWB9O9TGT+8ikjv0/P1qo9wk8u3c77fv4Rjz2HSpxPnghz9Y2/wp2a0JU430YkrH7WgzyIefxbNPbsQecVFJcJ9uyqOP3Z52N6/SnNKpwcPn/rm3+FOUWCnHXUkfnDDv/Oj/AFaM567flXu2eKjSZFByrn0/dtwfypBImCT5rOTyTG3A7AcUlHrYfPHuRrhJWZm5K5f068f1qO4thdSxSnzI2jzsIfB560GRN/nMrY3beUPI6Dt6/wA6tiVVU4Em/wD65twPyq4ucJKUdzNcslZvQqy2FusKr+9DK24kPyT6Z9KtBFjRVUEDr1/D+lQyyr5Z4k/79t/hUssi7yNsnGB/q2/wpzq1ai95sqPIm7EVypwjKAXV1x+JwR+tS0wsjgqwlC45Ijb/AApqXG5mWQNvHUiNvmHr0qOVuHoHNFPfclqO/gS6YxycqEXGOoJA5+tOM0Ubr5sdwwI3bUiJOKrh5VPm4dy3Lpsbg+xx6cU/ZPl16j9qo7Mkt7kqEsrptsgHySE8Sf8A1/apkBywwc7jxUHmW9zEQyM65wQ0Z4P5VHZTLDJLaOZQpbfCWRuR3H4H+dZ8slpJGrnCp7yepbeJpTsWdos5GVPf1pbO3MdzE0tyx2uOQQMULIsZ3MsgPYeW3P6U2KRfMXiTqP4G/wAK3hVqQSSX4GTcN/1G/BYbfhfoaglgIWGSev7xqKb8Ev8Akleg/wDXBv8A0NqK7D1lsN+E/wDyJaf9hHUf/S6euhtGVrGFUPLRgqfyrmvhg/l+Ay+cEahqWPr9unx+tdVbr5SJEFIVVwCT6dqQxzHDr8wGc8etKq7SeScnP0pcDIOOR0pFbOflIwe460gOH+KNnJq9xpHhnzGSDVb2M3H7tirQw/O6EgYBPy9eoBFddfQ3GzdazSJgBVjTGMfj/niuP065/tj4k69eNCvkaGkNjbygsGMj4eQYzg4yuOM8kV3lZUXaUpL+v6dzvx8XGlTw76K/zlZ/lyr5GLYR3kpeNbm4jjViqttUAY9uuT71qLNBJMYlljd1B3KDkika2jZ2bdINxyQHIGahuEjims1jQKBIQAOMcGutyU2ePGMqUSz5UfYY9gcUpU8KuAmCD6+2Ka7scpEMt6noKeobYAWBbHJx3rLU3Vr6DSqFlPGY+5HTin0wwxlyzLuOc4PIH4Um1o2/dplD/CDjBoHdolqG8/49Zf8AcNNk8wRkyNyWGFT09Peku4YxbSlQQdp6MaqK1RE2+Vlk9aayqw2sAR70Fh/DluccVX1Gztr638m6tknUHKqxxg4xnPUdetQaMncEphMKeMZHFJHIGVc5UkkYI7jrVG00TTLa5FzFaLHKHZwVduCxyTjODk1ogYFMVtQFLRSAhhlSCPakMbH1f/e/oKcSFGScCmx9X/3v6CnFQSMjOOlNiWxDfRedbMuORyPrWGqljx+PtXR1iaghjuGQcJ1UVy4iO0jmxEdpELbS2Bn60sUUkrbY0LH2qOpI5GU8My564OK51a+pyq19R88EcBi89tzbz8inodp70gkhH/LuM9vnOKguz++t1BzgnJ9Tt5pauctrD5tXYfJI0mM4AHRRwBT7Y7SXP3V9elQ1Ov8Ax6N/vdaVN+9cE9bjCyufm4PY/wCNJIpVvbsRTV60bmCkA9fWpvfcVwHWl2sQgAOSgwMe1EGDIFkHQZIHcCnyXLzIo+6oGMCqtZO4K1gjCI6mRs4PIHNOkMcUhljfzF+9txyR6fWoKiuJFj2qVlLEErsXPPpxVUU5TSSBzsjoY7uGQ4XzN+MhWQgn86kjjO7fJgv2/wBkegqjorJKhcpcmVQFZ5kK54HC57VpV6Elyux3025xUmRTzwW6hp5o4gTgF2Cgn8acP9b/AMBFEsUcqhZY0kAOQGUHB9ay59BsZr5rjzL2OQhWzHdOoyAV6Z9KhXNWa9FZ1no9pa3CTxy3jOgIHmXTuDkdwTzV5m2yKD905H40wbH0hIBAJxk4HvTdx83b225P9P602bPmQ4/vEkY7YP8AiKLCbJajn/1X4r/MU8sFxk4ycD60yf8A1X4r/MULdCl8LJKSlqOZmWM7fvEgD6k4oKbsLD/ql6HjtT6aiqiBV4A6UkzFYyRw3RfqelG7FshsPJd8AEtgj6cVLTUUKMDucn606hglZEcH3W/32/nUlRwfdb/fb+dSUPcUdkFFFFIoQnAyeBS1Bd+ZsJVgsYHz8ZJHf6cVMKdtBJ62In/4+4v9x/5rU1Qv/wAfcX+4/wDNampvoKO7/roISAQMjJ6Vn6paknz4xk/xCr8m7b8vXilIDKQeQaznFSVgnBSVmYLozN0G/uBzzT2wse7hpF4PoPSmzIbe5ZTxg8fSm8RyYzuHQ+/rXI9m+p5+zBCWEik5LKfz606yx9qiB6buajfMbkjtyKWQbJMr06rUJ2t5CTs7k+oW4hlOz7h5x6VVqea4eZ1YjnbtI9aHt33DA2q3TccU5JNtxKkk23ESNfP453AdhnIolQxMY13Fm4ORj8KfGN06QR527hu9/Wp9SWSGXzEOEY8d8Gq5fduNR91sryMrAQk4K8bvU+9RLGfMZW+UAck9qWf/AFpPrz+fNLGWkHlHJ/u4HepSu7EPVkc26Rl28Rpkn2HrTpXDEBeEXhRQqxupjYkMVHO7AJzUEqtEo27sqQu0n36U32Jba1JRyQKlWNXLs8gQKcdCabGh3Anhc9TxUas25ycgE9DRBRunPYexZVAkdzHuUnaPxGearTzSmGOIvmMSL8uPenO7M7MeM9cVFN0T/fX+dLm10CctLIfUszFliz2TH6mmwxtLKsa9WNXLnT5Ft/kkDOCMcdu4ojCTTsXGEpJ2KHOT6U5ApPzNtH0zQ0Lr8zKRjsabUWsRsSZiXszn34FAlbI2hV+gqGRtq+56D1NKd+xduC4xn3p3YcwmnuWgCuxIYsOe3zGqXiLS11XS57Jn8mbBME20FoJMHa656EVNZu32ZdsTH5m68AfMattIHVC3yydCD3xVVFdsMNWlT5Zxeqsc94F1S8vtH+y6uI01ixPk3sauGO4fdfjpuA3fjW/XG+N7qTw3q1n4lt0JtXcW2pgEhVRyAsxAHzFTgZPQcV2VvGJSCZNyFckjoRjqKzgujO/HUlJxxFNWjO+2ya3j8t15NDon/dKCikYH+cipIgjv8qsGGTgc5pm5VJ2opH+0KQsT6D6VbepwrQjdHW7BZSP3Z6/WpG7fSkt45JL/ABGQCIiTk44zTmkYk4OPoMU5LRMlLcZRjPAz+FPJ3gk/eHp3FPjOyMsQcE9jipSHYjEKhAjjpjCHjp60/Pz58sZz0U0hOf4gR/tdaVVAHMZY57NVDS7Adpcbldec4zSM25id7ZJoYgQuVZkxwe/WmuoJyZdw9Dmn0Bjs/Ix8zIx3qqu6OZZnRmZmKlOh2f0IxUzLFHHnYMZAG0E7f8KaXaSRTjKqD8x7n/OaafLqRLUmkZZZHkWMx8AKGOTgDFR1MREY8rlD0wec1GUYDPUeo5qZtydymiBmaCVpgpZGA3ADJU+uKHjjuUJcsTuJR1PIPYg1Oq55PA9agKsgJgUBQ5ynqPb0ospKzJTcHdDHuLiJh9qCvHwolQYx2GRVyD/Xx/7w/nVctDMDE38QwUbg0mkuxKRyH95FIEb6Z4P5VlZxlZmramuZbjvgt/yS/Q/+uLf+jGoo+C3/ACS/Q/8Ari3/AKMaivVWx6KKXwwZm8J29vgYbUtRZv8AdF9P/wDW/OuyXPOTnk4rj/hGgbwq02c/8TDUIx7Yvrgn+ddivT8TQxICuSD6VDf3UNlY3F7cOEht4mlkY9FVQST+QqeuY+KMyJ4JvrVmAa/22UY85YizSHbgM3GefxqZvli2dGGpe2rQp92kVvh1HI/h3Tr64l82TUpZb5z5zyJl8suwuAwXHQEDGcV2FZtjZQ2MOm6bbgLHZQBFH+wq7B/StFmVcbmA+tRSjZW/rYeKqqrWlUWzb/MWobqFZ4zGeMg4YdVPYipqafvj6GtU7HNJJqzKWnySyWcPmZDFOQmOecZJq0ZCis0hUDGQuecVW04S+UYuFMWIix5ztHBH161ZYRxckZY+vJNXK3MY0r8iGxeY53bsep7H6D+tPllSPAZvmPRe5qMyLIcMw2jqqncT+XanKuXDLHs7ksBmk13LT00HIhyHflv0H0pt2c2kv+6amqG7/wCPWX/cNKO6HNWiyY9TTQoBJHc5NOPWipLCiiigCG7toLqMR3Cb1DBgMkcjoeKkjRY41jQYVQAB7U6ii3ULjI+r/wC9/QU+mR9X/wB7+gp9NiWwVQ1eLdEsoHK8H6VfpkirIjxnuMGonHmi0KceaLRz1FSuqxsUZSzA4Pam/u/9v9K8+x5tiGXmWH1DH+Rp9EnlmeEKHJJYD67TRVS2RK3YVPKu21hIP3s5H4//AKqro6sdq5z1wQQasSKFgiJ9OnryacU7MuOzIui/Wm1YSJrlR5ajevDDOOOxqGRGjcowww61LT3Bxa1BAGyvc9D3qOPPlr0NPHUUL80St37/AONNPQkQ8ggA89zx/KmopilE0W3zFO4ZHB+v+NOoojUcXoJq5vWdwt1Asq8dmU9VPcVNWJpHGp/KSN0ZLDs3Ix+Vbdd8Zc0Uz0aM3ON2FM/5an/dH8653xj438P+Fmjh1C4kmvpiBDYWiebcyZ7rGOce9ZvhT4hWPiTxLJoUGj6zp14tr9p/063Ef7sMBkjJIJzxkc1Ht6anyOWp6ccrxkqDxCpvkWt/Lv5r0Ozi+9Ie2/j8hRcFVgdmBIAJwOv4e9ORQqhV6Co52QTQqzhcsSASBkgVt1PPs7C26vjfJ94gDp6f5NKR+/B9VI/z+dc9408YWfhuS0sVs7vVNWvs/Y9PtE3Sy46seyqO7GmeAfEi+LtMub6Sxm0+e0u5bK4tJHDeXKhww3Dhv5Vmq0HPkvqdry3ExwqxXJ7l99Pvtva6ava19DpH5lRfTJxRP/qvxX+YpyRon3FC/Smz/wCq/Ff5itFujhl8LJKimJP7tRljz9PepCcDJ4FRw5ZmlYAZ4X6UkU+xLUELeeRIMeWCdv8Ate9TGoIlW3d1yRGxyueinuP6/jTQpbrsTSOsaFm4AqG1dnZ2ZWGTxlSOKLgiR1QANhu/TPYf1/CpA4b7rL9fejZC1cvQSNgsbMxwN7fzpfNUKGO4D1KkYqO2HmFnJJUSNsHbr1/nVih7hC7SKF5psF28kwuLqJ5EKb4ZyuOMZA6ZFOttOit5vNS4u2O5nKvcMyknrwf5dBWct3PBdZlhcNuO7aygHB4UD3GcVujkA1U4OJFKsql9NgpkO5f3bc7QMN6ipKjf5ZUbPynKn6np/n3qEavuNf8A4+4v9x/5rU1Qv/x9xf7j/wA1qam+go7v+ugVFEfmbGeTk5HQ1LRUlGdq/wAhjdcBjkE4qgysxX5SCe54ya09XLLCjLwd3WsrcWcFjnkZJ9K5Z257PqcNfSbJGRPLCyTKCOPl+bilZ41ATyyxXPLH/CoG6GpJQdqP/eHNZX00M79iSOVikirhDtyNox06/pTbiKSJlLnO4ZDetMibbIp7Z5qe9XBDeYGBAwvcEcGqilKLbew94j7Jd18jjoRup+qXEUiLHG24hsk1UQlkKgkMOR7juKipc9o2XUftLR5V1JnUskbgcEbTz6f5FMV9jfJx0ye5pesHX7rfz/8A1UxFLMcfiT2pOWmhm91YdMMSsB0zxQ8kRVfOUlgflOcZwO9OuAPkZTkFevuOKrSrveMFQQCSc9OhpLSQSbWw4lpm3vjb1Val3Bh83X1plFTcSHbc9GX88VHOpUJkEfOv86lVOAzHav6n6VHctu2f3Q64HoM1UVqEloXdLhZ5xJyFTnPqfSp5p7+aSWO0jSICP5TMp+/kdh2xTmurdrdoYVySuFXGAfaq4vHd2kZjE7DZgfMFX1HvXZTUIQ3OuMo07JMqXLXgklS6MTkuNvloVyM8Zz3qNN7sIYcPIT9cD3rUbS/NkLTTs4+p5+tXLW1htl2xIB6nuaz9k5SuyXRnOV3ojHOn3SHe67yBgEY4qIda6AtuRuveufHas60FG1iKtJU7WILQgWoJ6At/6Eae6b7fzHLAhiVUHGOP50lhGzWoOMLubk9PvGrJMaptxv5z6CplpJnPTjeCv2KslpHc2kls6lklTDnPPI659axPBF6LdL3wzdXQm1HTCqnLs7vA3KOzMBuYjrjIHHNdEzswx0HoBgVyfi21j0vXdP8AGEeFaE/Y7w5b5oHPB2qpLEN06Dk1lJ2fMepgFGrGWGf2leP+Jbferr1a7HVUUUUHmjUJF7kHH7lv506mLxd/9sj/ADFPq5bISHx9T/umlLFcLwRjBBoj2hWZuewHqaYeTmleyL2Q75G7bT69qTa2eh/CkUFjgcmnsxXCqxwPQ96BCgSFGVsgEYBYcA596VkkU4MeSOo21BJlkOT+dPZvmzk076BckLYiOYwMt3B9Kj4b0U1JuOxV8whuvPTmmjdvAbH1IB4oZTAqvlgFuSc9KQBl5Xn6UrOrN9wAe1IuwkfeU0uoh0u3ftI24HaolUgMeo3HkVIR5knDDk9zTFZhnGRhjxTYnuHGMMquO4YZFQ6d5cWtxrKxZJSqZB6HPy5/UflUkp3OirxnlsU6COH7TDvUENIqFfUE/oR1z7U4Xm+U0g4wknL+kM+DAx8MdFH/AEyf/wBGNRR8GP8AkmOif9cn/wDRjUV6J6BX+E8kX/CGonmJu/tLURjIzn7dPXWr0/E1yfwojj/4Q1G8tN39paic45z9unrrF6fiaHYlXvqLXH+Nxf3ni7wlptrvFt9sku7wjBHlxp8oYH1ZgR9K7CuQt54r34u3USsGbTNJRWUwD5GlcnIk3Z5UfdxjjOayqbJeZ6GAvGcqlvhjJ/erL8WjqbmNmCyR8SJyvv6inRskqiTb1GORyPUU24l8tQqjdI3CL/X6U6CPyYQpbcRyWPc018WhxdBAJI+FAdO3OCP8aUOpw+cAA5zxj60GeEDPmAj1HIqOWMSPJGCVDJhj9fT8K0t3Mm7bFa0nRrqdPPSNpJMhCw34AA4B/OrYjgZs5Dt05Oenaqllbqbq581YZSrDEojAbOORn16VbeNY4w0YClPm+vrVztfQzpJ8t2u/5krMq43MBk4GT3paaNsiq2AwOGGRQGUsVB5HWsze46obz/j1l/3DU1VdUYCykXcRuGOP1/SnD4kTUdoNlmRgoJahTuUNgjI6GmKrM3mScH+FfT/69SUilcKKKKQwooooAZH1f/e/oKfTI+r/AO9/QU+mxLYQkAEngCmQ7tm5hgsd2PSmvum4RgseeTjJb/61SICB8zFj60+gk7sy9Xi2zCQDhhz9ao1uahF5tsw7jkViVwVo2kcVeNpDZA8N1bMylSHLAEexqe6cNMzBFCtyMVBdySS3EDSMWOT1+hqTrH/u/wAqlvSyMk90v60CPBdVYDaSKdcM2/a38PFRrncMdamkDSSLgg7gOR1JzzVQUpRcUPoWtPeKC3d3YBjzjvjtVB2LMWOSSe9LKwaQlTle30plRKV0l2HKV0l2FHWi3+4F9RQOtNiOFU1KI6i0VIY2ZyEQn0wKljsrh/8AlntH+1xTUW9kUot7IqndkMjsjAEBlPOD1pHe6ghkaxkImCHYrsSrN2z+NacemN/y0lA9lFQ61p6rot80EkizC2kKMDyG2nB/OtoxqxWhtSw05TR5x8IYF1LT7rxbqjG68Q39w8d7LJGAYGjYr5SeigDt1qTUrrUPAPjLVPFh0+C+0PU1g+3yRttuLTb8u/B4ZOckVZ+DCQr8MNDeGNUMsBkkI6u5Y7mJ7knmutnit7lHguolljePa6MoZWHoQetcNGLdOMk9d7+Z9Lj80eGznE88eam5ODi9PcjJWSt8NuVcvayvdXNg6xpI046l/aVr9jEfmed5o27cZz+VeU+Sfijri65qUM0XhexLppVuS0b3Tng3DEYIHZa1R8M/BP2tT/YUZj8wP5AlfySfXZnFdXHDHDGsMSoiRjaqKMAAcYA9K6KrnWXvKy++/wCC0Of+08NgYSlgZSdR6czSjyrry2lL3ntzaWV7K7usDwv4Q0Xw5qUupaal39rki8nzri6eZljznapYnAzWNpHiCy+HHirWrPxBK9toOrTnULK88pmRJ3/1sTEZ5JG4cetdxQQGGGAI9DWSjy2cNLHNhs7q+0m8Y3VjNJO8tdHdNNqVmvR6NrqcvZ/EDxZq0st/oPguO60TzTHby3F79nnnUf8ALQIy8Ke2a2PC/j7TdcvX0S+t59G16NiG0+6+8wVh80bfdcd+K01AUbmGf7ormPiLop1fQ2u7eY22q6cxu7C6UgGOVRkZP909CPStFVrQ97mv5afgddPH4DF1PYVKKpxlopJybj2crtqS/msovqux6G2JHC4yqnJ+vpUgIYAggg9CK5/wHrUniHwTpGrvGYp761WSUYxtboxHsSDj2xXQKAqhRwB0r0lJSipLZnBWozoVZ0pr3otp+q0Irst5LKuOQR1wcnpj3oWRZMxyRMuezjIP9KjuWxIVYZBxxnr/AIH3pTIGhAkYqeqvjgn/AD2q7aHPzasqXbXUcpitVZUUcN5e7BNWbJJZLZPtBO7ow27dxBxnHocZxU1vu8oF12sSSRnNS05S0tYUKet7/Ipi8tosK0q7nkKooP3jk8CnW1/a3BULIFZiQqtwWIGSBnrxzS21tCFJMaMRKzKWUEqcnp6dcU+S2hYD92isp3KwUZU9Mipe5rHZFO6tQ2ooxjBDurBj2x1FaVV9zeYkcjAOpyDjhh0qxTlJtIiFNQba6hSMoZSrDINLRUmhVDEXkMbht2x8HGQRlas7hnGRnGce1RP/AMfcX+4/81pcf6TnaMbMZ/HpVPUzjdN/10RLRRXMvrmpyXVzDbx2YVVzA0sM+HIfDbvlwOCMYJ5z2qTQ2tXGbT6MKyB1q1b3k19o0klwsSypJsbyg4XIOON4B9f8aqjrXHW+NHDiPjEcYBHtU+M/ujxlRjPY1BJkhs8HvUkrYm3DqMfoKzvuZITYv8Uij6AmpJvKO18sSR2HcVHKMPx0PIpR80JH905pd0PyBXRSGVDkerZqS4UxEHy0CuNy8Z4qvV3Ui2I1ONoUbfy5/pVRV4t9hr4WQRt5iujHAxu4Hp/9bNRs2SQowvpToD+9HoeD+NR9zUX0Ib0RJ963/wB1v5//AKqS6G2GHaMsAWIHUg0+3CtvjYkbhxgZ5FNncPKWXoMAfQVV7K438IwK2wPtYKehKkU6BVeZFboTio/NnhjG196r2Y8/rxU9vMzvGWjX1wVAI/KiyuKLTdiN2LNk8e3pUU3RP99f51JUc3RP99f51K3JlsyYIfLMhIChgvvmg5kk4GCeeae5As413KSXLEd+Bx/WnWG37SpYZGDx68Vdto9zRRvJI2IAwhQP94AZqSkHSlruR6SGS/6tsccGsLdGp/drn3b/AArfPIxXPyLsmZfRsVzYjocuJ6EFqzNbruOeW/8AQjUlQ2X/AB7L9W/9CNTVhU+JnFT+Begc59qj1S1ivdMn0+bcFnieN2RiGUMMcEdCKnt13OS2dq8sfaoo2LBnb+JiR9O1K2hpGbg1KO5znw4uLkeH/wCyNQuEm1DSXNncMuTkL9wknuVxXS1yWrXR0P4habMyt9k1xDaSSNIxCToC0YC5wNw3dBmuvC8ZY7R71nDa3Y78yhzVFXSsqi5vne0l8pJ28rEQH+l/9sj/ADFTlUA5LfUDioGP+lgDoIz/ADqYH90R1Ga1Z50eo9vKEajc/c4wKZhM9WPt3ptwwUdQOABuOMmqbz3gYeXHC5JOAG6DPXr6UMbki9IyqSi4HYknk+1MqsoupQySQwjk4JYjd+vHepLZbhSRc7BGDgEHJH15oavsLUnAJhk9CBj65FIBuYL6mkmbMZA4A6CpI/vbh2BNG9h9RrnLnHTNOUlYm9DwKjpzMvlp8w5Jxz1qbjV9yJvO3fKsZHuxB/lQsyqu+XEYDYO44Gc08EHOCDjrjtTJRGylZNpHoead11Is+hIw2sRTd/XOSdxwKYsy+V+8JDjgHacPTIvNyW8sHJPLHB+mKXoXtqyYjbEZm5IB3e1Sac5jvYZX+dTjIxkAH0/T9aiBdw0RjKiQbSSRge9TwqInjMmVAYADHJ5rWm+Rp2JbbfMV/gxj/hWOiY6eU+P+/jUUfBb/AJJfof8A1xb/ANGNRXeeqRfCgZ8Fp8xH/Ex1H/0unrp3ZY1DPIQC2B9a5n4T/wDIlp/2EdR/9Lp66SfY6+S0Zkyclfoe9AnYzpvEOkQ3EVvJdyrLKcRr5L5bp/s+4rD8DyWl14u8VX0carcyXMcRkVJVLxxp8ud6hcjcfuZHSu0B+YE9fWuN+EombRNTuZ7mK4a41i7kDRz+aoHmFQM9iAOnaspP3oo7sOrYatK/8q+93/8AbTqGAjvdzswDoFVj2OelPktY5GyzPjuAcBvr61LIiyIUdQynqDUNtuSeSAuzqoDKW689veqTcX6nC4qS1JHT90yqxHBAFUYbxVLSXG+IvkxjIJcdgMd/b3rSqnpq/u2DKMCWTHf+KtYtWdzKonzKzJLON0tx5hZXYlmGehJzj+n4VKykqRuPSn0VDd2aKKSsQI6rGNzlSowQadErbclmBJyR6VIQMg4HHSlp3BRG7f8AaaqtwoeO4Zi25AVXPoVHSrlVroHbcHGB5WPqef8AP404PUmqvdJyvP3mo2/7TU49aKm5pYbt/wBpqNv+01Opm4mXYoGAMsf6UCF2/wC01G3/AGmp1FA7EUa8v8zfe/oKJ1Pkth2Bx2p0fV/97+gpkvzTIoJyOWHbHv8AjT6kdCQLgYDECjb/ALTU6ilcqw3b/tGsK8h8q4ZdxxnI+lb9Zd7Eog84Zf525PoWJrKtG8b9jCvC6Mx48zQbnKjceT9DU0aneQScdG9qgnJM8JPPzH/0E1O7lgBwB7d65G1ZHDFK7Gtj7qs2O59afB8pZ9zfKpx9elVys28kSrt3A4K9B3FWo1ZoiqKWZz2HYUk3cpLUq+Vt/wBUxX2PQ0L5gdVkIO7oV9fStODTpG5lbYPQcmrqWkCxlQnX+Lv+dawpSl8RpHDSfkZkNk7MvmSCIHpuIyfoKt2NjEqCRtzcfLu/nUlzDG8sEMiiQOxZi2CTgcD6f4e9Wo/uCuqNKMEb06MVLbYAuOjEUbf9pqdWL438QW/hbwve65cxvMLdQEiXrJIxCov4sQKJSUU5PZHbQoTr1I0qavKTSS83sa0mEjZ3l2KBksxAArzj4leKPt8Ft4R8K63bT6rq8xt5JbaQO1pABmSQlTwccD3NZ2neDLrXbaPUvHuqahqV5OwmksFuClpB6RiNcA4BwSeprptL0DQ9JQrpWkWVhxjMEKqcZz16nmuCeIqVY8qVk/v/AOAej7fL8uq88ZOrUjtZWhzLbVu8knr8KT9GTaLo9roej2ulWMbRWttGI41Jzx7n1PWrWP3n3j93+tSQMVU+ZjPdf73v9KQKpctyML0/Gko20R8xVnKrN1Ju8m7tve/Ueu8bGAYgfrS3KjzAys3I/wDrVHk5z0qV8SIsjs3AC9M1ad4tC3RCy99x5p20KMsST2H+NPRkXJClsdMnGKbuX+4D9SakVkMOWOSzE1xnxl+0DwNKsTT/AGaS6gjvfKYBzbtIA4B45OQPxrtvM5wFQe2M/wA68++LU+saxc2XgXT5bK1j1iCSSS4uEYkeUyHEe3GG5zzWNd/u35nucNU4vNKM5NKMHzNvZRj70n8kmz1PSrWCw0+K1tLZoLeFAkUagAKijCgfgKne4hQfPMAfQHNYokmMSLLM8jKoBYnqcdabXa8T/KjzJ4ltt7+ZoXN5E33Wk49QMVVN4yqo2M0QYMQ3JNV3+8vpnkY/KldgoGckk4AHU0vrE7HPKpJu5swXsEoH7xkJ/vVaAyMhyRXNDzWIPCD0Iyf51bhnlhiBjYj5uR2qo139o3hiH9pGtCvyt8zffb+dSbf9pqpaZeLMGjcBX3t9DzV12VELOwVQMkk4AFdHMpao6KbUopobJEsi7WLEfyqvI1wjbYXEpzj5zj9QKmFxbtEZFuIimOWDjA/GhVR1KKymPphT/WqTLaIEuZPOeKSKQMoUnBB4OcY/I1YSRHO0SHd/dPBpJI8MrpkMPl6dveopYWdMtL3z8q/Nn60CV0PkGLqPLEfI/wDNacV/fqwYnKkdqgjXfdxiUl2RX4PTquDU7QgFWjHzKeMnt6U+xCTu9Ov+RJt/2mpcN/famRsxZlYDK45HSgyxiTy93zfQ4/PpU6l3RDqKlrOTLN0H86x0jOQ24gZAGfWty8/49ZOM/KeKxocS3KiSXykUbiQcEY6AVz1F+8Ry4iK5kRFS5OCcmlcAuxDHGTinrJl5EyjEAgHbjPpSbh/zzX9f8a52rHPZCFd0QO5vlOPwNLCPn27jhhtNP3qsePLU7ue/T86aHG4YhTOeOv8AjS6jsiPb7tT5MskZLMTjH4Zp8si7v9WhPc88mmmUkAbE46cUbdQskRjgg7m4NLKuJn+ZutPdsEABRxz8o60hlYk5CHgfwD/CjQTSGoSrBlZsg5FOnTbIdpO08j6U8yHywyqg7H5R/n/9VOX9/ENxAMZ5P+z/AJ/nTS6DUU9Cq6bkKktgimWErMR5jsZFPzAjBwScZq18kmVRNpAyOetV4EB1EnP30XI9gT/jTjtYzcbSTRI67WK7jwcVFMOE+Y/fX+dSsdzFj1JzUc3RP99f51CeoSSswUZkc5PGBmrWnxmS6UByMAn9Kqw8qW5+Yk/4VYtZPKuEf0PP0qou0kXTtdNm7t/2mo2/7TU6ivQPUsN2/wC01YuoLi9fDHqK2kZXXcpBHqKybs4uZCTt+btyx/wrCv8ACc+IScUZ9jGBbqXYjluB1PzGrZVWgDSSMrZ4XHQVWspNtuNg2nLc9/vGlQllBbOfeuecrSZw07KC9CQGIwFX8xULhW/vEZoMcQHEsnt8optwuTHH0CqGb3J5A/lQOlKT6FPcyfGmntc+F7qa3nk8+2xPBtlMWXQ7sFgCQuAc46jirWkX0Wq6Va6lDMssdxEsgZDlTkdsitOWP/QYmYZDM2Qe9cb8OootLt9Q8NIx/wCJbdN5SvKrN5UhLqcA5UckDPNRLSSPRUVUwUo9YNP5S0f3Pl+9nS7f9LHzN/qz/OrDI2FX5gKj+5c9t5iP4DNCoxJ8xgQB0Aq2eZFbhxLJucttU4UjFOEY/hfP6GkVeiqPYAU5to4HJ7mk3caXcZj/AGjQ4HlMWLYyM/nS0rLvt5k3bdyYz6UovULEco+Q/Maf93+I/wCNRux+zB2GNw4HrUscZbLs2MH8AKHfYcYdWLGFA3nLNnhT0A/rTmYyKyskYQ9cIB/Sgsq8IM+rH+lNbsB07Cnsi+d9GNaNBgoz8dy3P/6qWKHdnGT3LE9Pxp8SZ+dvlQdT/Sh5N2FUbUHQUkktRcz6sjx/tNTUXg/MfvGnnrTU6N/vGi5nYMf7Rp6Rs16rPIzHzBgdhzSKNzAepqSI5uUP+2P50Juw7Ir/AAW/5Jfof/XFv/RjUUfBb/kl+h/9cW/9GNRXpLY9VEHwpLN4MVVO0DUdRyw/6/rjiuriRUXCrgZNcv8ACf8A5EtP+wjqP/pdPXVL0/E0NitqRXknlWc8uSNkbNkdsA1x/wADWupPhfpF1eXkl3PdK9w8sigMS7k4OOv1710HjMTnwhrItbhbac2E/lzM2BG3lthie2DzWX8IrdrT4Y+HrZnR2jskBKHIPXoayf8AFXo/0PThZZdN9XOP4Rl/mdVVe6zF/pCnkYDD+8M1YqO4QSQOp9PyNXJXR5yHsdqlvQZqrpsZjt1LDDSFpSv90sc4qeBjJbozdWUZqKwbNvGv9wFPyOKuLvEykvfX9dizRRRUmgUUU1G3LnBH1pgOqtLk2c7H+IMR9Og/lmrNVbhgmny/L0DAD161UdzOp8L9GSyl2Yxxnae7YzinoGVcM2fekjUquD1ySfrT6ktLqNkbYhb0pIl2rg8k8k+ppJPmkRe2S35f/r/SpKOgdQooopDGR9X/AN7+gpI+JZF56g5Pv/8AqpY+r/739BTY/wDj4lbthV/Hk/1FUR2JaKKa7qgyzYpFg/3G5xxTWjWS3MfYrio5JFkZAFd05LYX8h/n0p26Zm2iIxj++SD+lPl0Iumc9OrC5hTBJDsMfgau29lNI3zKUXuTWgYljuoWGSxZsk/7pq1XP9XWl2c9PDq7v/WiKEemxKcu7P7dKuxosahUUAD0p1QFjCwXrHgn6VrGmlsjoUYw2RPRRRTLK9z8t1bSf7TR/mM/+y/rUsTAoMEUlxF50YXcUIYMGHUEHNUtOhjtpJLZo+HbfGzDO7gZ/HOa0STiYtuM9tGaNed/H+Tb4OsUnMiafJq9qNQlUHEUAYsWbH8O5VH4ivQkZWXK9M4ryvx5ql9461C+8E6CippNrOkes6kZcA4wzW8YHUnox7ciuLGSSpOPV6I97IY2xkcRLSFP3pPay7+v8q1u7aHXpcQyqrxSCRGAKsvIIPTBFS42gE9fSorCGO3t4beGFYookCrGOigDp+lSEknJ5Ncx8o7XbWwEknJpJXWOQRswBK5wTyTTo+u7sOahbbGzyHJ+XLEnJPNUiHsKZYx/y0X86nbIjVTx3x+dVTMQ0fymMNk7mxwBVmTnDL909B6e1NWimEXe40daGHakp3UDuc1BRBDGI5XwxO4A4P41w/xGlt5fGXgqGKaA3MerEOEYGVFMbcEdQDj9BXQeOtXm8O+GNR1pYvNktbdmjX+8xwFz7AkE+2aw/hjpfgAWUElpqukal4qjQy312JA0rSOdzkE9hnGR0FRUTqTVNPs/x6fcfS5FhJUMPVzFxk1HmiklfWUGm5PolzLve+nU7tkYHBUjPqMUBfm27lB/3hWVpesadrIefRb+0v4UyhlikyqtnkdOvStGNAi7R65J9TWmlrnzlSnOlN06kWmt09H9xP5cbIVZtzdcDpwc5z+tQOf3kfPUn+VSIvmFk55Vhx16GmBWeYEbQqjlm9/T3q94r5kMcoLMAOtP3fKYl+6T19T2pCygbUB9yeppo61Gw9hkG7nbnO9sY+tW0kjeab7ZLPLHIm0xlsoOMHA7fnUESsiM7DGWbH1zTavmcGVTnKmtCxp+l+H7ds2trHCd7uRkgMW+9n1znP1rRtbO3s4FtrOIRxeg5FY1XLCYxqVYkqTgDOOa2hXbdmdNPEXdmagVWi2kMAex64pGDCQkLnJGOenrSoGJV9u3K8gnpTV3D5QCpPOMjgV0HSQz5ivoZeuUZX+mV5q3UJIa5iOODG/BHutEf7lxEfuH7h9PaqeyJju/66EhRd+/kHGDg9azb6V4yyRvw5O7PPtWoxwpJOBjrWBNN52xs5AQAH1461jWm4w3McQ7KxGz3boFku2bA67etNRArbiSzEck06lAJOBya4nJs4rCgbhs2jJPBxyKcg8zk8EZ3D+tJJ8iFVOWI+Yj+VGeknHXawAx+NWtVZjBhk5Z0XnHJoLLGQFwxORuzjHHao5lDGNVZT824g9cD/6+KSU4i3c8Ov6nH9aS3E3uTssITKyMW9NtMjALAEEj602nLu5CrnI6+gqVq9h3EY5Ymk7mpBGNpZm6dhyaIyxciFCDjqOTRYLD448K3mnYpHfr+ApEwIZSM54XPtn/AOtSFEXmR9x/urz+tOR1YGLaFVumOue3NUWMh+UGXuvT61DHbyfajcBsDYEAIwBznOan81lGxflHf1zUZd3ALsSfc5pXsiGk7DpnUyGPGWGDv/vDH+NQXYUwqu47mdQBj355+lSXX/LF8cgj8ulRXPWI8YEq96pfEmRUejLGY9oHl4I9GqxZmAIdzhJc/KxXIFVKcg3Oq+pqYys7mkZWZ0K5CgMckDk1EzeawReU/iYfypfLZv8AXNu56AYH/wBepBXo7Ho6sjTEbtGO/wAyj+eP896ilt4bpFk6MRwwqw6hgM54OQR2NNtxtBj3ElW7+naiSUlqJxvo9jnooWhiCsDjc2D6/MacOTiti0jSWxCSLkbm/wDQjWQ/y3Cop5Mm1Sfz/kK5K9Llm7HA6fJCL7pCzEmeRj3Y4+g4H6AU6FVYPuyABnNRnrxUjDbbgfxMcke3asW7ybEu4bzIWB4XHA9MVyd+t7p/xI028Rc6dqNo9vcD5RtlQ7o2Pc5GR3611cBUFs4Py8A965b4lstnoMWtyKSdMuorncsSuyruCtjJAXhuT2AqJ/Dc9DLG5V1T3504/fovxszoSc3mT18s/wA6nQcc9+BUEBWa7R1OUaHcCPQkGpWYmrfRnmrS9xy/Ku7ueAP60ynNuLc9wCKYWOdq9e+e1TLQpK+wMwUfypHDvE6ZC7hg8Zp8UbM2FUuxq1LZSx2kkrLl1G4KD2704QlLYpR091GeMfZwwHVQeuampjo0cOxgQQoHNP70Mzu29QHJwOtatvaGCEyKgkn25VWOBn0/+vTNOsypWaXg/wAK1oEhRliAPU100advekddGlpeRg3bKrKrS7mUHcCAuOT0A7VDDIGBZQwwcDP9KreJtGtdR1COYLAUQBWDQB+MgkA54yMj8auY+XKjAGBj09Kzq8t3bcwqJKXusbSR/wCsKv8AKpY4b19aemdwx1pjfvd+7JyxrJWtqZksTbTwozg8n6UiYaRVA2kkYIPSokYxyYJZwVbHGSOP5UsLSmaPbGR846nnGewqknoJy0GfBQY+FuhD0gb/ANDaij4K5/4VdoWevktn/vtqK9E9VbDPhP8A8iWn/YR1H/0unrql6fia5X4T/wDIlp/2EdR/9Lp66pen4mkHUwPiV/yTrxJ/2Crr/wBFNWJ8H7Wab4TeGNt7LCy2aspjAxj5sAjv1/Suh8dxrN4I12Jl3K+nXCkZxkGNu/aq3wxgt7b4d6BDaqywixjKBn3EAjOM4GetY2/e38v1PWVRf2W4f9PE/wDyVlq20nUY5meXxFeyrk4UxoBjH09ealOl3TRFZNavmfJIcBVIz7AYPHHP161qUVseUVrDckPkNndCdufUdjTbEhHe1wA0J5weobkGpICGuJ2UDAIXPqQOf51Bp4/0q8diC5mIP0AGP0pU/hsZ1PjiXqKKjc7ZUbPB+U/0plt2HSNsjLenQep9KrPK1vPbQnLLJkH5cnd65qW63BAwbjco246ksOaqBNc+fM2nH5hsPlv075569aHsCfvGjVOZN0VxNuOCpCr2GOM/jSEagpczS2xixxsUhs/UnHrU90AtnIqjACHA/CqjoyKmqZK7BQWbpTRIn94A+h4pH+eYL2T5j9e1PIB6gGpL1uRxfOxl7Hhfp61LRRQwSsFFFFIZEGCiRicfN/QU6Ndq88k8njHNV/M/4mAiJGArSYx34Gc/ifzqcyZ/1alz69vzq2jOMlqDud2yPBbuT0FKibW3FizepoiXYgXOT3PqafUlpdWFFFFIZDN/x8QfVv8A0E1NUM3/AB8QfVv/AEE1NVPZEx3f9dEFMmVmT5SAw5BNPopFNXIrZv3KLuyyqFb1yKkJwMngU2RN3zA7XHQ1E7bj+8V8r0jA+8adrkX5VYk84ZGxXf8A3Rx+Z4qtM0qtbS+WMBipUNz8wwKnWSVpNm1Uwuc53c+lIkKui+b+8I9en5VSsiXeWxBrGoW+i6Hdape7/s9nAZZfLXc21Rzgd68t+GlxFaaRqfiLU5rXSrTXb99RtLaaVU8qJ+QTk9WHzHHrXpHiDRrXVtFudFvJbk2d1GY5VSTYQh7BgMiub0T4U+BdNP7rQob14toV79muDwOnz5A7dAK4cTQqVKkXG1ke3g6+CWAqUK7kpSa2Sd4rW2slbXrZvp1ZlTfEbw2JXh0tr7XLgA4j0y1afJ9N33f1pkWpfEbWR/xJ/BcOlQsAUuNZuwhx7xplga9IihtrSxSK0t4baEkL5caBAM8YAHvVypWEl9qX3L/O5hGvl1LSlh+bznJv8I8i++55VfWfxJ0H/iY3kVh4lsm/4+bTT0aG4gA6GPcfn9xxWj4d8RaF4ghkfTbjM8a4mt5lKzwN3DoeR/KvQmcL/T61yXjHwLofiSZb24STTtXRf3Oo2LGOeM+5H3h7NRLDzjrTd/J/5/18hzeAxq5cRTVOXSUFp/29DRP1jZ91Jk+A7jrsUce+f/rU6CZUb7O5z2A9QOh/KuOudV8VeDD5fi6xbVtKXga1p8RJQes0Q5X3YcV1ek3lnq1kl9pdxFeW8gyssLBgfyrGNRN8rVn2PLxuU4nBpVHaUHtKOsX5X6PydmuqLbRkMFHzZ6Ed6dnblEPbk+tMkmEKGLOXPO0cn6CoxIyk7oiRg42nNVY89ySYy9WOS1kimhSaOQbGjcZVgeCCO4rndU8C+EtS0+2t7jRLYJB/qTCvlMgPBUFMHHPTpXRP5sgGE2FWyMnOaGBXIA+UkH6HIqXCMtJK5rh8dicLLmoVJR9G1r8vuOL1nwgug3MniPwdeW2gzwWpS6hkiL21zGgBG9exAX7w5rc+H+sX/iDwdYa3qNnHaTXW9lSMnY6BsK655AI9a3JESRGjkVXRgVZWGQQeoNefaTeW/wAOdVuNF1aQweGr2VrjS7xs+XaSHl7dz/CvdTWFlTlfZP7rn0dCtUznBzw8/frxs4N/E4q/NFPeTV00nfRNK1rHoJkCMPlLn+6vU/4U2M84XzCTzgg9fxqDSLyz1DTor6wuYrq3nG5ZY2yr/jVquhSVrdD5eUJwk4zVmunYEWZhloxGP9s/4U9ZMLhVKHoSTkmm5PqaSi/YWwWy7lcbgPmYjP1onR1iYgdsAjmmQEiQHI2h3yPXmn3H7two3DLgDHpVNaiVuQWNc4UcAD8hUkrKyKV4C8bf60xndhhmJFNqblXsjoojujUjpgUbRv3c5xis/TrxFjEMp246MelaIORkciu+E1JaHowmpK6IACtxApxkRtnH/AamkRZEKt0NRv8A8fcX+4/81qDUrryV8tD87D8hVTkoq7E5KN2/60KWp3bMrWauGGcOw9O4qrR2xSdD61wzlzs4ZSc3djhyakDCMcYLHqfT2pP9WMD756n0qNmVBl2C1Cuidh0i/KWX7v8AKhCAfmGVPBHtUfngqyRqTuGMkHGfr/hSiIMu6ZmYDoB8oJ/CqtazFe+wrK0c67ztGDhj0Jp0rRs0cYyoJLEnocCnJKyfcWNewIQcU2RmliMbOAchkZhkKR7fTNWnC+g+mgHy0BLMDjv0FJGDPIZFI2BQN2fl71I7Q4AjiyQMbn5z746VSAEV5LEjDGd23HALAE/0pWVnqJ6NFtZIl3qgMjYxzwKcZGkVl4AABAAwKip0R2yc9Oh+lQpFcw2gEEcc0pGCRTNu3cy9ccDtUEkrnKeYeo4b/GmUsRZWBz1GCO1Eq4YqnAzxTY2Nn6xMwO0A4PbOar3TFvL24KCVMnrnmrkfP7s9+n1qrf8Ay2xwB94cfjVxeqM6i91snqS15uIv98fzqFSrKF4bj6itDRo4nkeRuWXG0dh70oRvJI2px5pJGojFhnbgdvenUgGBgUtegekFIOue9LWTqc80d+I1kdFKAjDYBOeamcuVXIqTUFdjzc+TYqin52L/AIDcaz4wvnF2xmNCR/vHgfpmorRmaAFiSdzcn/eNSQf8ezN1Lynn1ArmqTcptnnKbmo+hJH87YbJ4J96SRiSc8k9f8KaOoobhjWN9AvoJVPXLGHU9EvtOnRHiubd4mV84OVI5xzVylHWpKp1JU5qcd07/cYvg+7lu9A02SXeHFoEYNGY+VO0/KSSBx61s1yPw2hbT49V0qS4imFpqFwIyrsxRGcMFYkdeT6/WuryXOACE9fWi+iOrH0lDF1FF+7dtej1X4CbmZ3VRwO+fapF+ZV2rj270WcSyTGPacM+0j2xWho1vGF8zILKMBc521pGm5SMIR542W1y5YQ+TbgMMOeTRfSrFCNxIDMFOOuO9TsdqluTj0qB7cTMkk2cqchR0FdyXKtDratHliMuLWOe22F22Y4PcfQ1FbWcdpMWcu69VZuceuavP9w0OwRSzEge1PlT1aE6cea5n318VkVbdgQOWPr7VVubuaddrYC+gqJ4XjnkVzjLFsntnnmgIP8Anon6/wCFcVScm2jklUnK9xoYqeDUjt8m3AGcE49aasZLAcEZ7GhmLM2T1NZ6pEdBBkIWABPQZNQoJcOCyD5jggHirG35QNyj6mmrG+D8pI3HkU7OxLiQTWcM8BE29iHBDbiD0Pp9adFbo1wCzytu+U5kPQ1K5IjCqNz5JxnoPf0qpZN511Gs+8fMPlKlRnPQev1raDqW3skZy5U0rakvwV4+F2hDsIW/9GNRR8Ff+SX6H/1xb/0Y1Fdh7C2I/hRn/hC04/5iOo/+l09dUCf7vc965b4T/wDIlp/2EdR/9Lp66pen4mkHUzfE7XK+GtUa0txcXAs5TFEWADtsOFyeBk+vFUPhvNcz+AtElukiWdrRd4ikR0z7FPlI+nFbt3GJbWaI9HjZfzFcr8IrSS0+G2i2TyP5lrCYSxiaPJViPusAcfUVn/y8Xp/kd8WngZd1KPrqpfLodbk/3f1oyf7v60iMxYqy7SBng5Bp9aHAiraZWS4XGf3pOQfUDiog8lveyqLaWQSHcpUDGcDOT+FTwAJdTxj+LEn58H+VTfxj6GlTdlsKpG9tSubqULuNjcHjOBtJ+nWmtLcXGY47d4Vxy8oH6AHk1coq+ZdieRvdme9gwl+0pPM1yBwzsNp9ioGP61Zt7hZl6bXH30J5U1PUU0EMxBliVyOhI6Uc19xKnyfADtukReO7Yzycf/rpt4T9ll+X+A96GtLVuTBHn+8Bg/mOaov5uy8tQxCLyA5JITHY98nP0qopN6E1JOKd1v8A5GhDu2Fto+ZieD708tgZIwPrTNs24jzEC9tqc/qaURLncxLn1b/Co0NVewnnDjCsc9MD+tPyf7v606kOcHHXtSGriZP939aMn+7+tUp4tSuIPluVspgeNqiRf1xmmm31Jdrvqm4KxJVbcDcueB1644zQncb0JtvmXhH93lhnqOMfrVnJ/u/rUMMQIfzFBYsScH26ZqccDFVJmcF1Eyf7v60ZP939adRUmg3J/u/rRk/3f1p1FAFeVv8AS4F2nIJP6H/Cpsn+7+tQSZF9F6HJ/Haf8BVmql0Ihu/X/Ibk/wB39aQOCSowSOozSTsUhZhyccD1NORQihV6CpK6hk/3f1pHfahYrwBnrTiQASeAKjlCMP3j4U9ulACRPtBDYDdWJ4HNPjJ2Dj9ajVxICxjwAcAt1pi/d8vdwSN+BgDPb8ae4tiRW3yFtgxgqPektpMoFIO45bBGO/8A+qpc7Tt24UDqP5VXUGayjaMFXUAgd+O1Naku6YrAqPufdlDKc+p5/malZnDL8o29zn8qWGTzIw+MeopC5zgL6dTSbKiuqGmTgsE4BIOeuailZslcNhlBLenNTqm3d2GeP8aYu1Z22sSVTnJOKSGxwcSFl2hlI9cg57Vw2u/De0+2yax4QvJPDWrsSzNbjdbTn0kiPynPqMGu2V8/cBHPCgcHipwcgH1rOpShUVpI68Lja+Ek3Sla+63TXZp6NeTR5Xp3iy60zVl0HxxaR6RqcmBBcBibS7943PQ/7J5rsgTg8Dp61pazo+m63Y3FhrFjBe2k2A0Uq7hx0PsfcV5trmm678NbRtR069bWPCsTKJ7O8k/0iyUsBujkP31Gfut/9euGpTnR1esfxXqdDwGGzN/7L+7qv7D+GT/ut/C3/LLTtLZHbc+n60MjlMkBVyOSfenJLH5YkjwQVDB29KZKxZdxbdkjnPvTja6PmJKydyQqoYguM/Q0ye1t7mIw3CQTxkjMciblP4EYp8v38/3gDTD0NJ27FXcXdHkXw+8ZeFPC83iPR9R1OGzEet3DW4WKQq0ZI5UKpCjIPArqI/ip4FkmEMWtNI5OFCWkpJ+g2126ND9jhWGJYSmVkRV2jd3PvnrmhWZWDAnIrL2M6XuJqy8v+CfR43NMrxteVepQm5Ste1RJXstbeyf3XOL/AOE/jumaPRPCviPVGH3W+yfZ429w0hFOOpfEe8JNn4c0LSl42tf3rzt+Kx7f51191DuYSJlScEVGk2UbcpEi8FTxk9sfWn7Kb+19xxf2phaTtRwsfWTlJ/nGP/kpxj6V8SNQKvdeMtM0xtzgRWGmB1+uZDnPNRXOoeNvCk0cutAeJ9JLhTPZ2+28i64LRrw46dMV2wU+WdzHe7FOD0+Y9P8APappGO1Fz8ocYFOVLXSTv6tjhnsprlr0acodlCMX8pRSkn835prQ4n/hang2MMt5e3VhcKcNbXVlKko9yu08fjXXw3kNzp6X1nLHNBLGJIpFbKupGQQaoeLNa0fQtN+0ayx8qdvs6RpEZHmZgfkVRySRmsD4Qw30Xhq5t5IbyHTorx10pb2PZMLYHIDDqBnOM84rKE5KooSaf9ddTfE4HDVcvljKFOVOzS96SkpX35fdjrF2utdHvpr2Ycl9oGeMk56elbelqy2oJBJJzyelY9sNqNI4G/efl/r/ACqxa3LwzbySwP3h61205KEtTw6MlF3ZquT9ri+X+B+/utZmpfNdvtHIxkZ9q0JJ4hNDKzgIY3wT9VrKuZN9y8ingtwa2xElypG1aSs15/oRc+n60oz1wOPensNyl17feHp703BELSYO0e3euSxzWIfNbHloAxHGfT605F2jpk9z3NMT5VVNu5gOQO2acjNt+aPHoCc/nireol7z8xZMlCOMketTORI3y/L6A1ExyrN147ChGVlypBHtUt2VgTHMrr95cUnPp+tOVmXofwp6qJThV2v6Dof8KW+w7X2I1BZgMfrVFpWt5pJJocLJMQGznqeD61oH5Bt/iPX/AAqGRY5JI45s7Du4HchSQK0p6vlsROL6PUUMRgNjP1pRuyeP1oADMGGTxTwj5Pyt+VZlWFkyQsmBzwee4pnPp+tSBG8sgqQcgjPFNeORQDtyPr2oafYbTI23cEYGOvNOkfdICP4hnrTijY5U4700Y+VcKCoO31PsKPILDdzZOVwB3zUd8ryMm0HDMOh9asbAVPmjAPBXuaPMk3xKkYYF1XZ7VUN0JrSzI1juAhDW+AOAQRycVq6IrLbsxQgE4GevFV/7OlMgy+0kE7V/TJ/SoZ59Us4NtlBayybjmKeUoTx/DgHJNbQjyzTsdFGDjJXRu5P939aMn+7+tZKXmtyMxh0+yZAT1uiG/EbeD1q/p7Xrwk30MMUnpE5YH8wK6U0ztJ8n+7+tUNbXNqrbf3isCvPX2rRrL1Rt9yI8/dGR9airK0TKt8DRi2zbrBdv8ZYA56ZY1bLfIigfdFU4E2wCUOQFZmK9icmrPmJtDbhg1x1Gk2eZRTcV6Idz6frTh8wxj5u1RBmb7q4Hqae0YZQd7Nj7wxgVmn2NlHuxobLBVG5j0Aq5Bp91IAzhYx6E5NR2kMjyDyV6HOegFbtb0aSlrI3o04y1aPPvDtvHD8U/EOkTmd2eyt71C0nykHKHauPl5U+ua7NtOi7GQfiKxZdkPxUtyVcNdaS6htqBTskzjP3yfm6dK6mtoU42asepjqcJyhJLeMfwVv0MKWO605wYwSshK+Yq7ioPOSKj0y7SG9k5LRsCAcY6HPT8a1Jr6SOdov7NvZADjeiAqevPX2/lWD9p+33ZMNheW/kn5hLFs7ZI/XGaKkeW0onmSpuC91nTxSeZGrqOCM9adk/3f1rNXUra3tgBDIpB5QDOPcn0pxv5nyI41z7ZYir9pFJXNfaxWjepfcnYfl/Wo5XVniXIwWyMEckcgf59KpTLqE0BUqQMdyFzTRp/zQtM235+QD6A9801UbasiHUk3ohurgi6B9VHeqfPp+taFzFFNCWtYz8jfNjvVA8HB4NcdZe9dHNVT5rgjFXDY6e9DgqxHB9OaSpMF48jqvB+lQiBh3bd2B6daRMtEfl5Vz+RqQRtt6Y56k02IqhY7t3zHIA4NMLaiHIjXCgZJJx3pGOby3TGMMPx/wAmpnZfk+XaME4FNVFZ4lYZJcHPcc1cZJO7FKN1ZEHwW/5Jfof/AFxb/wBGNRSfBX/kl2h/9cW/9GNRXej1UM+E/wDyJaf9hHUf/S6euqXp+JrlfhP/AMiWn/YR1H/0unrql6fiaQuooGTg9K434SXBk8P39r9mithZ6rdwBIyxGBISD8xJyc59K7KuW8GT7PEHijS3uTLJBfLMEa4aRo45EG0YIAQZVsKCf1rOXxI7qGuGqxt/K/udv/bjpV5nc+gA/r/WpKjg/wBXu/vnd+fSid/LhZ/QfrWknY4Y7Edqd8s8mP49o+gFTfxj6Gm28flQJH1IHJ9T3p38Y+hqYKyHIdRRRTAKKKKACqOtrt0+W4VgrxIzA+2OR9DV6qurR+ZplynrG2Prjirpv3kZV1enL0LIOQCRgkdKWo7aXzreOb++oNSVLNE7q4UUUUhhUT/NOq9VA3Ee+eP6/lT3baPqcD602NWBZnILHHA6CmiXroLH1f8A3v6Cn1Svrae6geO3vZbN9+fMjUE9OnP+eKrjTtSEZX+3rgtxhjBHx0z27/1oY1satJVOxS5t52huLqW73rvV2RVC4wNvA685qdQJjvbOwcBT3OepoBslHIyORQzBVLNwAOaKjbDzhCOFG76ntQgbIJfON5A+xQDkAFuRwfb/ADipyszqQzKmR/DyR+P/ANakm/4+IPq3/oJp8sixgFu5wKpvYzStzXf9WQyNVjkCMFJPKtjknv8AjU1QxM0sYLxjBPfilRghEbsN2DjnqBSZUWkhZFZiecpt+76mmS7CY2kySMsAMmpDIgIUuuScAZpCuNh7qcfnSLCRmwuzgk91zxTYvmhCuuCw5xTnQs/UjGMEHv8ASms37khXCkdTnpR0F1JA2XwOgHP1qK3X5VaPjHykeoHA/GphVSXYu1ozhncYHoT7U12FLuSW52vKpKg7ycZ55/8ArYqU7V5Y45zmmlM3G/I4GMd6WU8Abd3rSbuOKsrDZSrBTgndxj1qq08gugGgBg3YMgbkdf4cdj/jVssoBckfMePTimkF5gV4IQEHHrmkMx5/Emn21obi4jvsLGWYi1fdjJ4wByeD0qaw8QWNzqMWnRxXwlkDshkt2C7V77jx1BA78Vrg/vMFjn7wGelNT93ldxIJ4yfamBJVDxDp9rq2g3+m3qhra5t3jkB9Cpq/SFVYFWGVbgg9xSaurMunN05qcXZrU8z+Fs1xefD/AEea6uGkkEJjLA/fVGKqT7kAZroZlMK/uyWLMMqee/UVyvwiWS38KT6azB/sGpXdsCT90LKxA+mCK69o9qksdzHHP415dBvkjfyMuIKUYZliYxWnPK3o27fgOjZ2j/eABlO04/MUtBbylkkwCvG7jPfGf1/Sn+Y3+x/3wP8ACtHbc8xeY21a3bdFNKYZGkJ3Mvy4A4GfoM/jU09uY0WRXWSNujr0qMyNjGEx/uL/AIVH5/2aVJsMI94Eqoo2kepHStk4VGlazC6itSRGGNj9Ox9KiuU2lQwyQwxg+/8AKr9/DD5SXFuVMbf3TkfhVSTDJDuO3DnnHUYrNxcZWZU420ZFEvmHbno7sPwP/wBenOMqQMZ96SKQJINi4OXGTyevpTpmbaWHLk4H1PrRLdWM1blOA8eXFq/xI8DQJcCO8W4lmKvynklMHrxuJGB3FegHOfesnxF4f0nxBpf9n6rarPGMGN+kkbDoysOVPuK5SPUPEfgY+TrH2jxB4fQ7V1CNd11ar/01Ucuo/vDnjmuTWE23s/w9f8z6RQhmmFoUaMrVaaceV/avKUvde19bcrs/5XJux6E3XqTwKWJN74Jwo5J9BWfo+s6TrcH2nSNRtb6Lu0Dg4+o6j8avo2088qeoro5lJ3Wx4VSlOjUcKkWmt09GF1MZJoowoWNQ20flTabKuLiLHIKtj9Ksu3kkpGBuHBfvn29KqV3ZsyV223/WgiKIsPISD2QdT9fQVrxJHJaKuwBWXoKxVVny3oMkmtTTblpsxlFUIBjFa0Wr2Omg1exnXVu1vIRjK9Q2OtQ10Z5HNZWrWuxhPE21Twy44z60qlG2qFVocqvEz24BPtSJzI+OMYB+tIxlHGxGHchsY/Cn20gkmcGMh14XevUev0qEro501J2JAmAGc7R29TThKVYbBtAOcev1qMkljk5OaSovYq9h8qhXOOnUU2HzTdxiBNzrljnGFXGCT+fanL8yEd15/CqR1BrectB56ORg5TKMASMGt8PByndIicoxs2WkZvm+ZuSe9Gfm69ait5PNG8xSRsQNwdcEH0xS3PELsPvAZX69qycWpcrBy0uPVgwyKkZ9q/3QBjn3qtKWjtXbJDEHHsT0qxPjzAp6heR+n9KVtGxxY1XwobJWnK/7ne20vnAYVHKOAw6qc059uEwCVZc+1JbDTGsSJAc/Kf0q/psJ/wBe2Mb1CfnzRp9l522aUAoDwPU1euUURLuChQ69PrXTQpO6kzenS05mSQfNukbkkkD2AJxUc0ds1ws8gTzI+FJbtUgIhgLN0GWOPrmsOZ/MlaQ/xHNaVqnKbzq+zS7m1JACRJEQkg6EdD9fWiK4+fypl8uT07N9DWO0kikMrsMgdDV43SzWDCQNvGAMDqexFZqqru2g6dZTfKaNY15HJNqDpCu88c9hx3NaHl3E2BKwjTHIQ8n8e1TxokahY1Cj0Aq5x9ppsi5wUtGZWm6cpsi0pEkrb8cfKDuPas+3VVhVV6KMflxWkmpW9pDHG4kkYmQkRjdtAY9fSiHTWLZkcBSSfl6nJor0f5V1OKynGKh0Wv4FJEaRtqKWPtWla6ftO6Zs/wCyP61chijhXbGoA/nUlTCglqzeFBLViKqqoVQAB2FMm83aPKCZ9W7VJRW9jex514snjs/jF4Ka6lYSzwXcEbiIBOVB2lieCSBjg5r0WvOfivZLe+Nvh+JEkaKPV2kYocYZV3Ln23KK7y/uTbou1cs3TPSsY+45X/rRHo42UFhcPK/2WvunL/MsOyohZjgAZNZDwx3ivcPMYjuO5QfvDHAqCaaWZsyMT7dhU9vpnntDPJIyquTtViN31qVP2krdDxfbSlL3FsZ00e7dCp4ePaD6Y4rd0YhrIOAASTn61DqOnBiJ7fIZBynYj296q6O7LfmMEhXBJU8cjrUQTpzsw5XCopPW+htv901Bf58o4/uMP0qd/umorld7oo6kNn6Y/wAcV2WujeezGaWu2zX/AGiTT7yATwMuBu6qfepIU8uFE/ugCn1Cj7vKwUVy8rOcPBxSp3+lWNTi8u6JHR/mFQRKS4GDg8HiuFxtKxwOPLKwoY+UQW4HCj61EnRv941YhhkkVl2kdDk8AU6GxuHQsoTBY9Tj+lUqcpLRByydtBhA8xFPPyj8e9NhObhCf7w/nWgNOLPukmxwBhR6VNHbpAynargsAWYfMMn/ABrVYeT6mnsZdTC+C3/JL9D/AOuLf+jGoo+Co2/C/Q1GMCFgMf8AXRqK6zuRH8J/+RLT/sI6j/6XT11S9PxNcr8J/wDkS0/7COo/+l09dUvT8TSF1Fri4reOw+LGpzLvB1TSI5G+ZAGaJivA3bydp54xyOa7SuK8cteWvjTwpeWlv5kc081ldMsO4pG6ZBLAEquVx6c1nPo+zO7A3bnTX2oyX3LmX4pHaDoKguv3ksUPUFtzfQf/AF8VIFkJy0hH+yv+NQ2is1xNKz78ERg/TrVTXQ4k/ItU3+MfQ06m/wAY+hqhMdRRTS2HC9zmgY6iiikAVV1aVYdNuJG6BD+fQVaqvqUay6fPG3Ro2H6VcPiRnVvySt2JLZGjt40bG4KAcdM0pcCVY+5Bb8Bj/GmWkjSQ4k/1iHa/1H+c/jSxDcTKTknIX2FJ7u409FYloqO4JEfGeSATnoM8mkkLNJ5Stt4yxx0FKxTYhPmyrsOQhySDxn0qakUBVCjgCloYJDI+r/739BT6iLbBIep34H1OMUoSQkb5OnZRim0JMWZiI8L95vlH1pyqFUKOgGBUJUxOHLFoxxz1XPf/AD61MCM9aGC3AnAyelMiyQXYAFufw7Uk3znyR3+97CpaQ92V7o4kiO7bjdz6fKaI2hADcGQ4zj5iD9abefNcW0efvM2foFOaskhVJOABVPZGaV5P+uiFqKVSXVwAw6FT/OpKFIYZHSpNGrjCsSKF2KATjgU1448AN1LVLkbtvfGaYqjfxjj27mi7CyAJsG2MkE9MnIFLHyu3Bx6+tAB8xm9gBRH/AKsA0AKPv55xj14NR+XJl1+UA4Ib0P0oA2yIAMLgjHpT1OXY84HGPei4NXBPmAZlw38qNi+Z5nO7G3r2pXdUA3Z5OAAOpqKEK2VdSrBi2PrRYL62HFW3AJgKoxjp/nimbNtwcKcBQfryaefLVSdvC9T7UkbMWGRuO3kgY7mhAxTu35yfTAH9aY5jjRzINoLfKf4if8c5qWXdtwhwx6Go44UbLEMWxtyTk01YUr9BIXnaMMFUg9N3Bx71IPO6lkX2AJp44GBwKWhsFHTc8k+Gwli1DxlbKVDr4lujtK8AHZz9K7RIZJP3Ikdm27t2cHOR+ArlvCrunxH8fWbKqhL62mXA677cH+grq33INysQXxnB6YPH8z+VeXh9NOzf5m/EivmE5v7UYP8A8ChF/qSi3nyYpgVJU8L1P+FVvLNvukGWiwO+dlWA75Lbmz0zmq0srYkVGYYO3AP3mxn8sVonfQ8SfKtRxni52tvx1284obfJGRsZdykZ3AEUBVkjlKYBMi59CMDP6U+RhHy2fwGc0mrbC1e5a0RjcW0tnu3RRgBTtAKnuDgYz3/Gq05P2hFIxtDcenSrFtfGGxW3ihZ5BnzCx2gEk8e5/Smoq310Wt3VXKHdG55Ug+3r6111Kbm9HqaXThGKd3/WnyKKsPPAClirP06DJ9anjVt+52ycYCjoKZbKfKd+MGV8gHoc9KlrlqJxlytGUFomNZlUZY4FSQqYrVmbiSc5x6L6fpTY1SW5G/AEa5Pqc+n5U6VzI5bGPQeg9KXwo0Xc5XXPAnh7U7k3sNvJpeodVvNOfyJQfU44b8Qazh/wsDw394weLtPXvgW96o/9Af8AQ13FOX1PSud0Y3vHR+R69LOsQoKlXSqwXSetvSWko/8AbrSOb8MeNvD+satFYrcPZagobdYXyGCcNwcBW+907ZrpmwGJY7mzyAePzrgfitAl3qnhC2FvHJPNrUQ8wqC6RqC7YPUdBmu7PJqozk/dfQWY4fDQpUq+HTiql3yt3tZ20dlo7PdXVt2BYn6elWdMI+2pzjINVamss/a4jtJG8Z9q2pfGjy4P3kb1V7+MyWrqOo5H4VYoruaurHotXVjmzyCByaWVV2bAfm7sO30qzqKxwzOsfBI59qq1wNcrsebKNm0NibemcYboQfXuKdTCdkuez8H2NTFNoDSnYp456mnbm2CPvK3UZ5ixsu7JDHbgCiSF3QrJEAh7yHg/THJp0cihzJHGBwArPy35dqGZmbczEn1NF1H1J0tqJLFJbzLDKyOTErb1J5xxzmoJvMkgdo7WeVRtYFVOCQeMevI7VavvJuHhON3lptyeM/UU1pHYnc7Hp1NaSnT5uawpR1avoRrudxuikCow8zK42nPA/OnyDMm48sOM1KJpPJaNmLI4wVJ4xUEbb0IY5lj4f3HZvx/nUy5XH3R7aXHVY0q1+0RhjgRh2zj69KSzt2uJMdFH3jWtEghk2IMIRwPQiqo0+bV7G9Kld8z2JVAVQqjAHQVXuxiSN2yV3KPZTnrVmq18WKxxqASzjJPYZFdsNzrqfCytrErZWIcKRk+9Ztal/a/6PvDMWQdz1GayyQBk9K4K6anqcdZPn1NDT7WOeHfKCQCQADTZTNDO39n2guWiO3Y0mwcg5YMRgnIAxTbWa78oWsMO1iCwZjjC+vtVwSNZw/vIQIEGWZH3EepIIGa6KVO6Wh00+WEbvcrtearG4M2mQJAAPMlN2MLz9PxqvfXr3FwyWt2DbgAExYO4nr835dKgkkku2M8+8Ak7I26KO3HrTioG05JJ5xSqVrXjHc5qlZ1NtEVrRFTT9qgKZGZfzYjNdSBgAelcza7ZLVckqfmH/jx6VuaZdfaIdshHmpw3v7/jV03dyXmGDaSS8kW6KKKs7wooqNf9a/pxTC5wnxSXTT4m8FnULiWKUasn2YJOY9z5HBGxtwzgbcr1612eo28k4XYR8o6eprz74yrYt4r8A/bJrmNxrcZgEMKuGfcnDEsu0e43H2r02sbc0pJ+R34umngqGr15v/SnsZkGmtuDTMMd1FaQGAAOAKWirhBR2PNhBQ2Cueu/Nj1B34Eqybh9On8q31ZWztIODg+xqrqcKypGpVcu4TeRyvX0qalNztyk1YqUDP8A7Zm2bmtn2E/e2EA84zn68Vetrh7q6BVNiRg7jnrntVSWN8HToZA0eMESKMfhipLZfsNxHGzSKXbDAvuVs8Aj8cD8acWm9GYxVRPWV11NWimNIitsLrvxkLnk/hVS1Et3bx3ElxIiyLuCJ8uM9ietaqOlzoc7Oy3LjRozBmUEjoSOlKAB0GKqQr9mvlhDsUlQsN7EncuM9fY/pVyk1YIO/TUaUQkkqCT1pI+jf7xpJ0aSCSOOQxOykK4HKnHWs0WOqsqhNaePY3JFuh3+uc0FW1NagKGIDDIyKZCrrEiySeY4UBn243H1wOlSJ98fWgZzHwYAX4Y6Io6CJwP+/jUUfBn/AJJlov8A1yf/ANGNRTAg+FLoPBaAuoP9o6j1P/T9PXUrJHj/AFidT/EK5L4SzRv4S8krh11LUeo6/wCnT9K68KuPujqe1K6ZCbexUvZJfMT7PeQoSCNjKG3H8+K5f4j2bt4SvLy4vrVzYypfoz25k2GMhhhVYE4we9dgqqZn3AHGNox0BFR6hZw31hcWU0atFcRNE4I6qwIP86c3eDiaYWTpYiNZvZp/d+Ay21K1utLi1GCZHhmhWaNsjlWGR/OpbUxxwIvmLnGT83euT+Gkgfwfp+mFI9+nzSWUqqXIHksRjc6qT25xj0Jrsdq/3R+VZQkpe8a4qi6FadNdGxPMj/56J/30KTzI94/eJ0P8Qp21f7o/Kk2rvHyjoe1a6HO+YPMj/wCeif8AfQqNJIzNIfMTgBc7vx/wqbav90flUVsq+UPuk5OTjrzRpYT5rof5kf8Az0T/AL6FHmR/89E/76FLtX+6Pyo2r/dH5UtB+8J5kf8Az0T/AL6FRXkkf2WX94n3D/EKm2r/AHR+VRXir9ll+UfcPaqja6JnzcrIi0ceo7lkXEyHI3fxL0P5fyqaCWPywpkTcvBG6i5t1lA2nY6nKsBnBqi9lqCsJF1AMw6gwryPTii6ejM25weiv/XqaJeIgguhB/2hUcDRDeRIvXaMsOg/yaqQXvlsI7yNEHQSr0J9/Q0+K4baxitJJl3HLjAB+maElYFVTaLnmR/89E/76FHmR/8APRP++hUVtPbzqCmA3QowwwPcEVNtX+6PyqdDVNtXTIJJYwrfvE/1q/xD1FTeZH/z0T/voVFIE8uUEKCTxkdeBUwVSAdoH4VTsKPNcTzI/wDnon/fQphEBwQ6KR0KsAak2r/dH5UbV/uj8qV0U02R+ZDCgAcMSf7wJY0nyt8zTKH7bX4H+NAVHuDlQfLHHHQn/wCtUu1f7o/KndEpNmdM4jvY9913JD4GAMHirYlGdjvE6n+IMBn8KJkT7VbttGcsM4/2am2JnOxcj2pyasiIQkm9ev6IYXjYMPMUZ4+8KcHiAAEiYHuKXav90flRtX+6PyqNDX3hPMj/AOeif99ConmSPrLEuT1yMH61NtX+6PypCqsp+RSPccGjQPeIJpzHCXQiRi4wgcA4/Hj3rPl8RabZLDFfSPFO6bvLVC5zzkZXIJ4Na5SPdkovTHTtTIY49ibUUKBxxQPUyx4l0byvOa5baH8vPlNw2M7enXGKsaTrenao90lnMzG1l8qXehQBsZwM9fwrQ2r/AHV/KhgiqWKqAOTxQDIlkjadm8xflAA+Yfj/AEpzNEW3eYobGPvdqIEHlAlVBPzHj15pXXByBnOBjHT1puxKTsMQxqm0TKD/AL+f50iSRrOQZlJYZzuHrUkijB2oNxGAcU3b+8+6pO3+tCsN8wyVoM+aWQsvHLfyoRleNHaYI+3oGGPyqZkU9gMdDikC4ChUTGefpRdA02NjmQkq7oGH+0MH3FP8yP8A56J/30KR4UYAbQMDg45BpvzqBvjjb1KnH6GjRivJbnmvhza3xc8ejeoBlsOc8Y+yrXUNIrq0hZRuYYGegzgfpXK+GnV/iT8QbgKRHJcWUKMF7i3UH+ma654QIsR7WUY6dQM15lLZ/wCJ/mzo4jv9bSX/AD7pf+moCPKioSWGM+tV4GQzFywBYbsZ/D+QqeaLcyq6fIPm6dT2/lS7VyDtHFVdJHhNSbI7OaNrd1DpkSkMAehAFTJKqn7y/n0pqQiJQuBk/MeOpPNLgeg/KibXNoOPMkBZc/fU/jQkuxtySBT6hqXA29BwfSkwPQflU6D1It3mCRhMFdnbLA9ee46GltpPMT5mXcGK8Hg47iiBWZzHHGrNlmwWC9/epJdqiK1VFyinzHXoxz0HtzXRJOUeaREU9xGmUuY1kQog5IPVqXep6uufrSKqqAFVQPQClwPQflWDkmy/eDcg6sp9s0F1P8S/nSkLtHAz9KTA9B+VLQNTifGpQ/EjwHypxNfd/wDpgtdruX+8v51xfjQD/hZfgPgf62/7f9MBXa4HoPyrGnbmn6/oj2czv9UwX/Xt/wDp2qJuX+8v50pkUqIw4ABycN1Pb8v60bR6D8qWOPMsgHGQMA4wT3/pXRDrY8b3jV0+8WSMRzSJ5o9SOR61b8yP/non/fQrn8bW6YIqVbqdRgSfmAa3jiFb3kdUMQ0rSEuWiaWQtcKTk5OKjdVwMXKKvqoy34Z/nRMY4Ld5pVBJUlVx1PrSR8ff+Yn7xx1PrWWm7RzNtsN1uvEUcS8dTgsfxNJEkCZkAjB9scmpBGo+Zsbfp1pJCrY2xhQB0qebuFmNLKxJ3rnqcnrSB0I+8v50uB6D8qTaM9vxpXUvUerDcv8AeX86AyZOXX86apX5mcAKSAue57013MrFIivAwXx936epp8tiG2iUupP3l/OoJZFiuIpt6BQCj5PY4x+tPc7G3MAUxjp0PrT2VWBVlBB6gikmk7id2a2ktGsDHzEwW/vCrMrpuVwynbnIDDpWHbSGyeKTOINwR1POQeM/hXQPGjKVZRgjB4ruotcqO+jJyjbqhBLEQCJEwf8AaFV3likcSCVCoZVX5h68/wCfanI24iHAWRfvcdh3/H/GnzIixoAoADL/ADrZWTLbk0PMkRGDImP94Vky/ZZLtIbUxJhiSwIz7n+g9/pU1xJcXMohtERUxlmboR+FXLO1jtoFjVVJx8zY+8fWs7KWrWg3eTsiCSNldfs1wiBt3mMz5YnGAfwrK1ZdYCRrHrVsMOCxFsOnp97qa6Hav90flWLNIsl27cbGO3p27VnVmkvUirJxikijALprhTcX0coP3h5YXJ+uanaRWkJ3LyeOaftCI2VG4nA4/OiNVVd20bicLx+tcjd9zkbk9yvaPGluqhkLBmySf9o1paNPG802+VAyABVLdupNUbOznFmHMJwC3p/eNXNOhP2yEug2hJGXIHX5RXTS0qtNdxUFNcvyNXzI/wDnon/fQo8yP/non/fQpdq/3R+VG1f7o/Kt9D0veE8yP/non/fQqvaXULPLDuAdHO45GDzx+mKs7V/uj8qp2CKbm7k2KN0uBx6ACk2RLm5kcd8So4rnxl4HjaxS7Uam0hkIJ8jam4NkdOQOT6V3nmR/89E/76Fcj4rW3l+IfhKB/K8xGuJkUs4Y4jwSAo2nqPvY9ua6/av90flUxtzS/roehiHP2FGPk/xlITzI/wDnon/fQqO4kXyH2SqG2nB3Cpdq/wB0flQVXH3R+VW7HE1Joo6Q6eQ7NIuS3dqmvnj8gPlXEbByoPJA9PepYoIYgRHGFB608ohBBVSD1GKVNcqRChLk5TMSSD+0pGMqj+7z1Jq5exw3EJUum4fd5FVJ7OJ7iS3UbVEKsh/uncatWsU8bFZmV1x8pxU8vL7ttGZ03JNporaekbxTGSaOXeRgOAdpAxye/wD9ap9OmUwFWaJdrFQFwAB7VVvreaG4a4t1JRuSF/hPf8KtaZ5RtVAKlupHcE+tJVHKdmVGDjKyWguoNF5SP5ib0kUpz3zjH49Kn8+Dfs8+Ld6bxmiWGKWMpJGrKeoxVHUIobWOGSC3iBSTO0KBuG0j+tbXjbUJuUG5aWL/AJkf/PRP++hTY5I8N+8T7x/iFJayRXFukyKMMOhHT2p0arhvlH3j2paGibdmhfMj/wCeif8AfQpySR71/eJ1/vCk2r/dH5U5FXevyjr6UtB+8cz8Gf8AkmWi/wDXJ/8A0Y1FHwZ/5Jlov/XJ/wD0Y1FMoy/hha3snhOOVLuNVXVdRZR5XIX7dP8ALmuzs2naI/aIwjg446H3Fc38J/8AkS0/7COo/wDpdPXVL0/E1NtRdRnAnyerLgfhSvIq4B5Y9FHU1XmlZr0RR4LIpbBOBk9KhukZE/eTZeU7Rgev9KqVoq7IUrtpHKeBkuD8Q/FzpdLNZebAyqJtxjlKHem3Pyj7px+Peu73DOMjPpXCfCbUbXWIdcuoJLrEmpygJJgjYh2KVYKOCBnGSR613Soq/dUD6CsaPwI9HMVJYlxktUop+qil+g6m/wAY+hp1N/jH0NanCx1Mg/1KfQU48DJ4FQR5jjWT5ircsPTPemhN2ZYopAcgEcg0tSUFQ3n/AB6y/wC4amqG8/49Zf8AcNVHdEz+Fkx60UHrRUlDQihy4UbiME+1OoooAz9Vs4nRrlWMMqYO9Tj86ljvVllEcSkkjkk4A/xqy6qyMrgFSMEHuK5y1ZkAeNiMMdh7gZ4FRUnyJSOWrL2c9OpvwxjzJHb5m3cH0HtS+cpOEUvzgY6GqumytdrK0h+7JjA4GcCrTRjcMfdxgDtWnMnqbU3zRuthRId+11K5+6c5BolYjCpjeent704qrJtYZFRR/Z/tBWNl8xFwwHXBouirMlRQi4HPqT3NOoooKIZv+PiD6t/6CamqGb/j4g+rf+gmpqb2RMd3/XRDXzsOOuOKI23Ireop1RW4OHY/xOSB2xS6D6ktFFNdlQZb/wDXQMXrSR/cFCFiMsuD6Zoj+4KBDqjuM+S2Bn1A7ipKKEDV0RtJlFaPB3/dJ6U5flAVmy35VEyDzlVMgZ3MB09qlkKqhZug5psSfcYpO9yCdi5/E07kzZzxt6fjTFjbaiHGzb8/qTTLiBbhjFIWEe0cqxU5BPcUATkZ3Llh/SkDKriMZ4HpWUmi6amIzJcnBPBuXx1z69eaj/tjRNKdrOa8EHkqBiQsxII3e57nrUlGsrMwLEjAOQR3FOnXdGCpwRyp9D/k1mW+uaVPqBsku1WcspjQ5HmDA5X25rUZgrKx4APJ9OlMDy74c7rrUfFupyooM+v3CRkDgpGFQH9D+tde/wB36Efzrjvg5J9o8HPebVX7TqV5Lx7zuP6V2bttj6A5I6jPevJoO8U/61NOI9Mzrx/lfL/4CuX9BdzZPPXrT9m5N+3YPfofpSeaw6BAfUKKJScKGJJxk59600PI0CbhwOvyj+VR0jny52Qt8nATP8qdRJak3uxW6A9u1NpT6elMkLZVVO0scbsZxwT/AEoS5nZA2R+WspEe1d7O4DEZ2jPJFWLlI1gDx7v3JVWyeoxjNR2CBJS5ZmYM3JPoSanh+ZZUIyGjbg9zjj9a2vdqKFTj7vqRUVIGiwN0ZH+63+NG2E9HcfVaxsVYQbNo3bs5PSj93/t/pTvLUghZVPp1FV76e3sbKe8up44oII2kkcn7qgZJoehUYSk1GKu2crLFHr3xn0mzTd5Ph+wmu7hh/wA9JwI0T8gT+Fdvf2v2dwVyUPT2rjvgostydT8S3UJhk165e6t1c/P9nAVYs/8AARnHvXfX90qBkW2NyAPnCOo2898mrw9JTpc/V6/ovwR9BnEIqccLH/lzFQ+fxT/8nlL5GU0MpRZtuIw3Wm0G8upsQyWkiRBiQ+9SB1445pVUswVQST0FKfRHz0opPQfuWQYfhuzf407Z5PMg+fsv9TUskaWqDf8APMRkDsv+NVWJYlmOSaT033G9N9yK4XMcr8s5U8k5PSpVBYgDkmkILAgDJPannCDapy3cj+VLdakJa3FlG1EXdngmmhSR29h61I4UrGxbA24xj0NRlvnDDjHSh7lPcbTD5ueAhHuTUoAY8cUbeCcjg4pImw1I5CAqvk9W3D5fxFKkS5by2LEnJH6ce1OZ8jAGB3x3pg6mtOfSzKutEwPoaWALHGWwDljtB6AVJGdxJZQSB949PxqEblkaNuucj6GlayuDVrMcP3l7aq/KtMM59uQP0roqwbQpHewSTHagDFT6twAB6/erSjVriV/PMgRvmSPoAoAHPuTk12UI+4mzfDu1+/8AwCazdJYvNR1fcTll6GqerXYNqyRRtJ84XcTtXOeg7n8KTWJWs08y2ZFmkUxhcdT2OPasqRW2xBiWIZQPzoq1IrRbv8CqlVwVmdBpyKtqrBlZm5dgOCf8B0qzWH58kOY42xxhiO5qa21CRMLKN6+veoVdN6lQrxVkzVbBUg9Mc1gMi7mIYbMnBzzj6Vo3d5G1ofLb5m4x3FZcnyISwPyjJ45rOvJStYzryUmrErfvtrdAOD7D1q1pcayztIRwmNo9Kx4tWtdgjWO7/eMUYm2cYYDIHI/+t2rY8OXENzayNEJAVk2sHjZCD6ciinB8yuFKD51ct2LbbEMegLn/AMeNZlvcCOcTNv4Y5C85BB/ripLiQrYRRjIy7k/99GqqKzuFUZY9BWlaq41dOhEpu0UuiRoHU23cQgL6Fvm+vp+FT2V6twwiZSsoXcR2P0rPmja1IRlUuRkkjOPaq826TJX73VQOADjGRjHb3qoVk3yz0G61SL1d/I25riRVDR28kuT8u0j/ADijT43jt/3oxIzM7D0JOafbyRyJiNs7flbggg/Q1LWjWp1pXfNc4XxL5n/C4/CjRWqzkWN4sjm5RTCh2/N5Z+Z+QBkdM813VcXdyyN8atOgFzGI49Endofl3EmRQD/eHQ+1dpWdPeXr/kenjr8lFPpDz/mk/wCrCEgdSBTGyJ15OGByPp0/rUcis98mfuIu4fWpG/16A/3SR/n/AD1rSLvc829ySormEToFMkiYOQUbBqDUboQpsjY+blT8oztGevPHTNVk1ORUKtH5jfwvkDP19Pwp8yi9zOdWCfKxYbNZHlmM1xlWMauJDll44P41pIu1AuScDGSck1WsGjNiiIclAA3ue5/HrVuqlPm6hSikroKilghk+/GpPr0P51LRUNJ7mxWlggUB2keM9N3mEVQ1NdvlulwZYxlTlg2DVzV7L+0LJrXeiBiCd0YccdOD74P4Vj6ZpOy9u44r2PyPLEbLDaJH84POT/QeprKpTTjZbilHnTTJ7C5a1lIwzQucso5Kn1H+FbNuyyR70YMrEkEd6wWRo5WhkYb0OD7+9TaPcG3ufsz8xTOfLI/hbqR9DSo1brlZxU5unLklsblKn3x9aSo18xrho3T90QNrA4PuK3O4534M/wDJMtF/65P/AOjGopPguAvww0RR0ETgf9/GopgQfCqQL4LT5Xb/AImOo/dXP/L9PXUx72bccooPA7n61zPwn/5EtP8AsI6j/wCl09dNO4S3dmzjkfnQS9NWZ9ustwhYoSHdifQc4qLVH8uxv7li4FlA5Hl4yWCknHQZ6DtWgqqqKCH2hc/M2Bgew6/jXMfElZF+GGsxwt5UlzbmNT5TPjeQPuoCehxwKjES0/E0wGH9pWhBvdpfex/ww0OHTfCmlTBrhZWtgzRkmNMuS2fLDMoPzeprrqq6RaJp+k2dhEAI7aBIVA6AKoA/lVqiKtFI1xNX2tadTu2/vYU3+MfQ06m/xj6GqOdjJfmdYux5b3A/+vUtRni4Gf4lwPqP8/pUlDBdSKLCSPH0B+ZR6Dv+v86lqN8eajfxcj8KkoYLsFQXjD7PKvfYTUxOBk8Cq8+WtZZGzlkOB6CnHcmo/dZZPWig9aKksKKKKAEPSuWhjRo/mUbgzbgCcA5Oa6qsO7hEWolHO2OVtyt/MVFWLcNDkxUb2ZZ0EFUmULhd+QffFadVoFjt0Magn5uAOp4FTRSLIuRx6juKqMXGKNqS5YqJDfXS28bAY8zaSm4HBNVdLkeItHcgeY53lvqM4qe8iS6uEhK5CfM59B6fjVvA9BUJNzv2NVfUiluYY13NIMe3NSRusiB1zg9MiqWrxM0Suo4XOasWLK1rHtbIAx+NNSfO4mak+dxFm/4+IPq3/oJqaoZv+PiD6t/6CamrV7IqO7/rohkjMPlTBc+vQe9RGBVx85PGAW6j6elPJ/0oDsUP86JudqqFLE5Ge3vQLR6sXdsXYMu4H/6s0qJg7mO5/X0+lEaBAcck8knqTT6Vyku4U2P7gp1Nj+4KOgdR1FFFIZFKuCJFzuyB16jNK37xlVR8vDFu30pLgBlVTnBYZAPJp6bdoC4wOOKroT1GruBO45wM01VAbhSuVGe/enS/KjscsMcKKTO1skE/KPc9aSGyG4tbe8REngimVSW2yfMB74qdRsHzsDk+lKArNtPJU56VGFaSMAkEZOaVhkgWPzOApdR1xyM//qrF8a2mr3ng/VLLQ54odSntnjheQ4VWYeuOOM4/CtoNlivy7vY9vWklChHPUsMfj2pSjzJx7mlKq6NSNRJNxaeu2nc8g8O+JbXwjpVj4f8AFGhX/hoWsSQpNKvm2r47iZeOTzzjrXcxXNvd263FrPHPE+1leNgykE8EEda6G/gS402e3mjSRXiZWVxlScd814t4O1bWPBvhSx8Paz4I8TvdWybfMtLZZ4pPmOMMG9K82UHh5KLd4+np2/4B6WJwEM2pTxGFhatzLmjzJpqSk3Jc3vaNa6y36HqMa7n56Dk/So7j94j56nmsPwh4t0/xDNfWUdnqWnX9ns+0Wt9bGORFbO09SOcetdAI42U7mJXHIxzThJSScWfO4vB1sLUdGtHlkuj81dfetUKyrJEGfAJ4IPeo4wylkZlYjoQeoNNMjBgsmAvRD2+n1/nSSAjMiHDYxz39KvyOVtbmhaWLyMfNDIo/M1Pe2Ef2NlhQmQFWHPJwQcfjV2JQkSoOgFR3qxSWsiTOyIwwWU4I+nvXZTpxha53+xioNWOft5NskkeyXIJ3MUwoJ5x9eaniby/Mfbu2xscHvxVQpELhVjaYRrITHlz2wMH2wBx9asKhkJjHQglv93v/AE/Osqqgqi5Njz4NjmhkjjUyKwBHBPemU8M69Mge/SjKN95cH1FczsXp0GVxvxncP4QXTA2W1S+trTZn5nVpBvA/AGu0ZduOcg9DXE6xFbXPxo8NQ3EKXATTrlxnn7MQy4lx0GeVBrGsm4cvfT7z2uH42x0ar/5dpz9eROSXlqtzr1jSKa3SP5EiUhQvGAMACrPmt5PkjATcW47mo5lVrpBETjDcHqelL3xXQ7pJI8VSld6kpK/ZFAHzFzk/h/8AXp1nujcz9FTr7+1Rqwx5bfc9fQ+tPmPlxLDxn7zY9e1C79i137EUjtI5djkk0gGTgdaACTgDJpDFN5waO6iUYA2Fc/U5qUrkasex2IQPvEHJ9KZUUVvexAmedZl55VMfTpUtDBkiEMjIe3zL9abwOv5UsZ2ktjIwR+YpoBJwOTR0ACfypw/1R9yP60bP7zKPxz/KnbVMfMg+U9h2oSY0iKgDLYHU4qVFjIIG5mxwOmaYHwTtUL796LCaFkOFCDt1+tRNNGjr50irECVLH+E8d6dTIsNufqGORkdqcZWdxOTWxpadO0zqsMabVX5S3b1PvmppbiYJJ9ngMkucMw5AP+e3vVSzkEdu8illXcA8gQnaM44x/kVmprt1DG6RDTwof5C6zLkZ5DfLwa6ouU4no0k+RORZXdLLuZi8j8ZPc+lI3yqJP7rqB9c1XFysiNJH03/IV4Ct6fnVqaSN4huG1mkU7h0zn0rmjuu5w1Fq7jaKk8piPlw4/wBk/wBOtMwd208H3qLMmzDoPT0pYk+beWchffv2pCc1ZtY91xHFjvuaqjvoOKuySHS/MjMk0kiyt0Ibp9R0q1Z2zKEaSVy6M33WIVvqO9XKZF1Zc5IY/rz/AFrujBI7oUowasZF0v8AosDf7Tj/AMeNW9IiURGYj5icD6U0QibTR/eVnI/76NMhuha2wj2kyckenNZ1Eo1nJnPTSi1KW1l+RDqb77xsdFwtVakaTexZ1BJOSRxSbUOTv2gdd3QfjXK7yloYyd22WLItPcxKWIZfnLAkEqOx9eSOvvWzVTTodsYuHB8yRRx/dXsAO3v71br0bWSjfY7aEWo69TziO0e5/aOmvo3TZZeHEjkU53EvK2Mdu1eiEsHHAKn8xXI+HVhl+KHia7jCF0tra3dg7FhgFsEFQB17E59q624yI9wGSpB/Xn9KzpRtfzbPWzOrzypr+WEV+F/1HngZNYjagbplmTzYtqkKA38Wecj2xjFWtYvZImFrbbDMwyxbkIv+JrOhhRV2rJznJLjGT+FKpVcPh3PCr1G5csem4rySSMzSvvZjknAHbFNp7xsnUcdiOQaZXFJtu7MHfqaOkf6uX8K06zdOIjs2bHzM3A9avHzQAQVY9x0rvpL3Ed1HSKJKRWDZ2nODg/WoJluHjKDyxnHIJGBWZMER3hlk2t3UycH0PvW8KfN1Jq13T6G3TBHGsjSBQGb7x9ajs51uIA4Kkg7W2nIyKW8fy7aRu+OPrWUvd3NlNOPMtjC1A75XlzyGyCPSoypZDhirByVYdiDwaWQZjYYzx0oh+568mvNTalc86XvLU0bmQ6joUuwlJcYYCUx7XGDjcOQKx9NW+h1dJmaXy9u35r15epBwFIAODn5vTFSwSNCDbNuAdi+c8Oang4mT/eH866atV7Iv6xKUUiH4Lc/C/Qz/ANMW/wDRjUUnwV/5Jdof/XFv/RjUV1o9BEHwik3+DSpGCmp6iPw+3T4NdLcSqsiJkEgs2PcdB+v6VxnwxFynh+3ZZDHDNqGpRnAB5F9cEHpx3H5V2f2Y+WVa4kKbixDBTnn6URt1MZSk9EgjjCgbV/fSD5tw6D8K4P4ybZvAVjp7Szg3erWlpvgm8p+ZcHBAOK9ASIjlZmAPPQf4VyPidXuL/wAOW091IRcaozbEkjQMFVjyGUlx04XBrGuk9L/1oellU3SxMJpfDr9yb/Q7MDbx6UtR+XJ/z3f8l/wpkokSNm85zgdML/hWunc4eZ9iem/xj6Gsuzlupr8wtPKBGD5mVUgn06cf/rrQ2Sbx++foey/4UotSBt2WhFcXVp5bf6TCCj45kHDDt9eDxT1vrJgpW7gIbG3Eg5zUV3YLcRFPOMZLBiyxoScfUd+R+NV/7OjtY+qyZ+Xc0KZX8l6VslBrcwlKqne2n9eZoI3mSbx9xcgH1NS1EsTKoVZmCgYACrwPypfLk/57v+S/4Vm7Gyb7CXW7yG28Hjn0ovP+PWX/AHTVOTTF3DF3dDdIWI8zg55Ix6e1K9n5FtMVubhsoR877u3vVpR01MpSnZ3j+JoHrRUZjkz/AK9/yX/Cjy5P+e7/AJL/AIVnbzNrvsSUVH5cn/Pd/wAl/wAKTY+cee2fov8AhRbzC77EtV9Rtxc2ckePmxlD6MOlSeXJ/wA93/Jf8Kr6hJJbWkkonbcBhQQOWPTtTS13JqNcr5loV/D8vmwOzZZg3U9QMdK0ZpBHEzt0ArN0O2kjt3YzP8zdwMn36VPqKTmJI4psyO4wGAxgcnOBUN+7dP8AroRhnL2auixaRtHFl/8AWOdz/Wpqj8uT/nu/5L/hR5cn/Pd/yX/CmopK1zbmfYeQCCCMg1WgtWhmJWQ+XnIT3qby5P8Anu/5L/hR5cn/AD3f8l/wocUyXq72GOyvPAyMGG5hkHPY1PVWaOT7RB++fq3Zf7p9qlZXVSxnfA9l/wAKtrYUZavT+rIRm2zs3X5QMdyafGpBLNyx/T2qvb28oLSyTHzGJOABhR6dPYVP5cn/AD3f8l/wodu4Rb3aJKTnI9O9M8uT/nu/5L/hR5cn/Pd/yX/Cpt5lXfYkpsf3BTRHJn/Xv+S/4U2ON9g/fP8Akv8AhTtpuF3fYdcZEDkHGFJz7d6SeNpUXZNJFg5yuOfbml8uT/nu/wCS/wCFRwI/l7fOcbSVxhePTt6Ypol6vYrXFpcbo8X07bm2nhRgEcngVbtYWgQqZnl543ADA9OAKZIkizRs0zFT8o4Xg/lUvlyf893/ACX/AApttqxMYpSbs/6+YpLlflABz39KRWDSsR2GP1pGSQDImcn0wv8AhTBE6OQsz/dyOF9T7VKXmW2+xIJVMmwZz9OKczYYLgnNV1SZoVErSbmHzABfl/SljWTeY2uGYgAglQCR+VFvMOZ9irqUmuJdAadZ2EsHVmmnZWPHQAA96GXUpYodwhguFcM4Ri67c46kdcVe8t/+ez/kv+FZ1/qMGlmS41bVbWwtBhUe4kSMFs+rYHpSdktWXFSnJRjG7NCbczpHtJB5bA61zfxH8RP4c8LS39rb/aLua4jtrSJmwskzttXd/sg1qWOqaXqBEljrlpdxspAaCeNwefVa5r4y2WkzeCbm51jVZ9PisGS6t7iIqHE6HMYUEfMc9u9ZVpP2TcHrY7stoxeOp08RBtOSTVtfSy1+7XsV/BPh+TQrCeS+uvtur30puNQuiMeZIew9FUcAV0mWjTb0LdR7VheCZ9XuPCWl3OtNt1OW2V7jCAYY8jjHBxjPvmtYq5OTK/5D/CuCmkorlPKzKrWni6jrPmldptbaaaeXbyHTqs0ewrg5DAr6ggj+VLGhkYdPb0HvTNrDjzWzjngcfpT4lb5/3rfdPYf4VtskrnBu9jX0uQNCYwxbZ3PpUOsyfcj/ABNVtJ3i52+cw3Kew/wpmpBzePmVjjA6D0+laOV6W50uq3S2ILePzmEfIzKcEHkc9axvH/w9v/E0sMln4x1XSFiiZfJtwAkj9QzbcH69eOmK3tGiZrr/AFrfKzHoPX6VueXJ/wA93/Jf8KcaUakHGWx1ZTiquCqLEUdJLZ2T/B3R84w2Uul+HtYN94j8R6P4o0CEvdRC+MsVxj7kqqw+aNjj6Zr2HQJru40HT7i/RUu5bWJ51XoHKgsB+Oaxvjl4Dl8U+HpNQ0ssdatIXWNRgfaYTy8J456ZX0I965v4PeMrjWLCPQ9VkY6lBbhoJQAPtEanac5HDqeGH49681U/YVvZvZ7Pv/wT67OoSzbKv7Qo6uMnzx05oJpbPdwbu1dtrZfDJnpSsZR5QbaAfv8Av6Vw/wAOk/tbxD4h8Wup2zXJ0+zB/hhgOCf+BPkn6Ct/xJruleG9N+0apqSWwIIiQ4Lyt/dVQMsfpWb8J7O8tfh9pSXqS29zIjzSxMm0qzuzcg8jrWk2pVIxvtr/AJfqfNYWFTD5XWxDi17Rxgn3WspW9HGKfrbqdO//AB8R/wC639KmLE9cE+tV3VvtEf7xvut2Ht7VJtb/AJ6t+Q/wrZ7LU8GLd3oSwqC2W+6oyacW83733+x9faoNrf8APVvyH+FG1v8Anq35D/CjTuXzeRL92P0LfyplKVeQZ85i49hyPypm1v8Anq35D/Ck15g35Ei7+Smc4p0irwy4A7gHoarRmZrcb53J59MfyqQowAHmtn6D/CqaS0uJS02JA5AxgY9CM0GQ42gBR3wKi2t/z1b8h/hSEMASZXwPYf4VPzDmfYfT4/uvnpj9e1RKjMQBKxz04H+FOcNnaJW2jpwP8KEvMafkKODSvzhh36/Wo9rf89W/If4U5EZgyea2eCOBz+lNLpcV32EddwxuYDvjvTclzhchR1PrQ0EzRiQuwiY4BwMt+nSlCMBjzG/If4VLXmVrDdam7ZTxNaBlwgQYI9Kzr67e4fAJEY6Cq0YblPOYBvYde3amFG/56N+Q/wAK2lUcopXNJ15SilYRvnmCnnaNx+p6f1pTbSGIyx4CIwJB6fhVySMSd32CIbZFC9QOc8e+KlObXTo2aZgzMCBgcnP0q1QSkrvQmMd77GPdLqiFPIaEpKu9SLOSXaM4wWU4B5HHoDT9Nn1HD/bGidQSqgwPG2QcZKt244q3bXUtsX3Suyuc9Bw35VFKZJJDI0rEn2H+FQ5x5UluaVJx5VyomWYBgTDGRn0q9ZyW6Ozs0ak/dPQ496ydrf8APVvyH+FK6Nn/AFjdB2Hp9KmM+XUzhVcdbHRJJG5wkit9Dmmji654yoA9zWdo0bFpG81hwB0H+FX5YZGCkTOSrBgMLz+ldtOXMrnZCblFSsMs222G70Ln/wAeNYzMWYseSa0bX95pjFLhjjeCMLwdx68VmpFI5wsjn8B/hWWLTc7HLOTcIadAJABJOABkn0FXrGzkaRXkVkRcNgjlm/oP1qvc2U0Nm0nnESHAUEDn1HTjinLq84BR4ZjN1AUptx6k44opQjT1k9SYuMZfvEzakkSNC8jBVHUmq9rew3EzRRhwQu4ZGMisaea6uNpnmGF5CqowD9e/6VVkme2Sa+FzLGIEZsjA4UZPb2qnWgnuavEyckoxK3w5N3ca/wCKdQnlDwT6nIlsFmWQCOMKv8JOOc8HBHcV1t1eW8KlWfcxyAq4J/KuM+FStqfhSy1GS6lIu0kuAFjSI4d8gsFGCcY5rrLuxX7KRG23YMjCqP6VcbKmmnfqejmNSbxNRKNrO3/gOn6GSgGN2zazAbsnJz7nvTqbtb/no35D/CnLEzHBn2/XH+FcDvJ3ueKr9izZxecsick8EAHGahdtpKqiqR+JqWKO6ty3lu2WHLkLjHtUJhOfnusfQA/0q3HRGjvZaamppigWCsTukblieuavVTto38gMJ32lQF4HIHfpUxDb9vnyZxkfKP8ACu5KyWp209EtCasfVrOa4vDIu0qq7eI1Y4P1/H/Iq+BcAgPN949OAQPy5qTymzu8589M4H+FXCXI7oVWCqR5WmVdOhNrES0ZXOMgAY+uB+dM1qf91HFGy5kbJ78CrUrGPjz3LegUf4Vh62k6zlo5JHkGAwULWWIl7rb6mNR8kOSI2Niynd94cEU/SrV5oNsahApOQT0zVJjcB8rHNuztLHbhh61p+GGZrVjJcOsrMcqVHqfauKEFKauzKmrvlZNe6Wxs28uTdKvzDtyKq6VC2oTIwwtujDzD3Lf3f8a3Nrbtv2ht2M4wucflUdrH5UxiWUqN2QAo7/h9a7Y0orXsazoRck7aGF8GBj4Y6IB0ET/+jGoo+DP/ACTLRf8Ark//AKMairOwy/hu7L4EkcfOINUvpEx1z9vnyK7KZpFG1eRIcA+hz/hXHfDG3x8P7xuA0t/qZBIzjF5PjiumjXUJIkC3luWCghvJJGcd+frRFavU525Lp/Vy1qMwt7NyvDEbUHua4TxXfWcfxB8BQ3XnrLJNdC2WOMFCRGoyxLAjr2B/Cuku1u5bxkmukZlcBMRYAHfv39awfE1tv+J3gaC4tYLgwx30on2MDEVWPGMHAznvnOK5al220+q/M9TKJ82KlzJpKE+38kjvqpaqLiS2dLR3SZB5i4QEORnCnPvg/hV2kNdBxnN2c2tPdGOSDU7fzXYB/Jg2L8qjc3OeuT/kV0DMyFMnceASf51LUVx938v5imtyZbEtIRkEetLTZAxjYL97HHOKCmNgYtEueo4/KpKZCVMSlRhccCn0PcS2I5eCjccMBz6Gm3n/AB6y/wC4akkUSRlD0NQ3LE20quMPsPTofeqjuiJ7MsHrRQetIxCqWY4AGSag0Ed1QZZgv1NNhDHMjcFu3oO1JEuf3jL8zevYdhUtMla6kF3cx28eWOWPCKOrHsKj+xrNtlustLwcZ4X2FVLdRc6sWc7jDliM9Oy8fgatatP5FocHDP8AKKlytC7MVJTTlLYlWaGMOWkQDdxz7Cmxbp5hMylUTPlg8E+5FRaXarDFuZB5pOWJ6jIHFXqVnKzZvHYKKKZKxXCr95jgVY2x1MlfZtAxuZgAD+v6ZpUjVTu5ZvU9abJGZGJOBtxsPofWmrXJd7CTf8fEH1b/ANBNJcsfMjiBP7w4xjoByT/IfjTZjKLi3+VG+Zu+P4TSM2b2EhGDFWVgeoHX+lUlsZt7+q/QtUUUVmbBRTV6nnPP5U6gApsf3BS/Sok87ZkeWeOnIyaa2E3qTVAZYoZMTOsZkfCFmA3HHQe/FR38tyLCZ7MwLcopYCYEqMeuDmvE/iDfR+J9d8Cx+JrOOawl0yTUruG1ZlVRKERM5YHCsy8jnrgVlXqulC6V3p+LO7L8LDFVXGpLlilKTaV3aMW9Fdau1lqtz3IL5jiQk7R90dj71LXiXhrQbO4u5rfwr4k8V6G1uCExdedasocodqMWHBBGGwe4GKr6V42+JlmYkuptNu7dy+bm8s2jVEAZlbch+csqMSFHykEHtnJYmV7Sg/lr/k/wNY4PB1VejiV6TUov/wBuj/5Me6HODjr2qIb2ch/lO0cr35rx2P4i/EdHTd4e0S4dmXFp5rxTOpiM24HJQDy1J5bPGMZ4purfEzxJ4g0zf4f0e90G3jijOoX1xGkjxeYRt8kFgpGG3F2IAHNDxcFpZ39P6RrHJqklzqrDlW751p6r4vSyd3otT0/X/FHh3Q7y3tNX16y0+ec4jjllALfX0HucVqeZFPHBNDJHJGzBkdWyGGOoI615Dr3gmOy8C6t/wj1imr65fQASXd+6zTT7sbjufjOMkDpnFb3w/wDGfguy8M2OkLff2Q2kweTcWupHypodo5LZ4IJzyCRUUcVJ1HGoktNC6uX4etg/b4Jym1Llei2097lV3FNuyve+uz0O38RavZ6DoV7rOoPstbOFpZCOpA7D3J4/GvMPC3hWPXreHxP42t21LVbzdMlvdsXhs43OVjSM8DC4zkZpnjvxSnjzTG8P+E9J1LVInu4JJNQKeVaIscisfmfG/ODwBzXcX11bWNnLeXk0cFvCheSRzhVUd6wrzjWnveK+6/8AwBYh4nK8JGlTvCtUk72fvqKSsrLVczbunZvlXTfmdS+HPge9+eXwzYBxyPKUx59vlIplt8PfCVldWeoW9pcSLA4EVvPcvLDC/ZlRiQD/ACqRfiR4HKbz4itUX1cMv8xTm8e+B3UsnivSgSQSDcgZ/A1lD6tfW34GE5cTQpum/bctrW986o04LhNx6/wj1qlouraRrFu13pWpWt/bq20vbyBxuxnBx061bZixyetbK2585UpTpScKiaa6PRjYzuQNzk8nPrUzqY48EEE9fYdqroypKVZsbmBXPv2/P+dSibdI7RyZwecGq8zOLVhYc+YMUx2C8swHuTU38JmX0wfY1U3rkyyHABKqMc9cdO9HL0CTsjQ8NqG+0SjJHmEA1s1neHuLBgQyv5rl1ZcEEnPI+mK0a74x5VY7sMrUoiZwMk4A7182SWOuah8QZvHPgfS1ltpNVuIIYi22Bl8vy3uH/wBlpMnjrt9a9o+L2pSaT8N9auYCBPJB9nhJ/vykRj9Wp/gfQ7fT/Dttp0Z2x2kEduoXttUEn6kmuLE0vrE1T7a/5H0+XZhPKsJKvCKk6rdOz+FxUbyvZr+aKXzOc8KeDFt9TOta3cf21r8oANzIg2QD+5Cv8Cj1611T/fPfmtZxBaWzrGy79p78k1isSXCKccZJ9qj2KpLlR8xmGKrYmop1pXf3JLoklokuy0EY4uYjwflbr+FTfK/CqAe3vVaVsXUSjliG49uOatxxsDk4HB6n2qrOyOCGrf8AXQiop/yL33n9KldZljDSRjYem4D/APXUqJaRACQQRwaeRvG5Rz/EPShimPuDP14oZmSQ4GAOMetAECfKJF6ncT+dPpJVAl3pnayH8MHp+tKKJELTQKKesUjfdjY/QVNBZTyn7uwdy1CjJ7ItRk9kVbX5dyseUB2+47Utav8AZcBjKuzFuzDgj6VWm0u4QZhlWX2cbSfxFayoysW6M4rYp1Y0+1+0lpH3eUvTH8R/wqCNSZdsscgVc5A5LEdgRx+NalveKvyvB5agDAQ7gBV0cPKfvNaFU+SMvfepnSzSSAB2JA6DsKjq5epCzb4MDP3iTgD8KgZY1RWyXz+ArGcJJtMzknfcjX7w+tOKszMQpIyeaXzAv3Y1H1GaJ2ZpDuJNTpYWlhvAHXJ7+mKZcuziPcScMoHsM1b02JZrkBxlQMkVb1mHzLVNi5ZZFIAHvWtOm5LmK9m5U3IyiMjB6VHzGVXOVJxz2qYIxkEe0hicYNX7+2hg04/KC2Vyx7nNZKDab7Dpwcr9jPGScDk1YmtZ1w2wsCBgipNIjDXBc/wDI+ta9bU6SlG7NKVFSjdlXT7fyIst99vve1Tyv5cZbjPbPc9hSNJ821Bubv6D61XupI4NpmBldgcDsB/SupKMFrsdF1CNkFhDGbJFZQ3LjJ6/ePerEcMUZyiAGquiSeZp6tyBufGTk43GrYkQyGPd8wGSParnL3mTR5fZxfkjN1iRjKsePlUZ+prNiG1mXvnOT1PvXSSxpKu2RQw96xNQt/Iuk2ZK4PPp7Vx1abu5HPiKbT5iH69KxvF00lv4LvWjVvNe3MagRGQ7mwv3cgt16ZrWfLMIl6t19hWB48019S1Dwzoks6Qx3OprPLGyuTLHCpdlyoIHY/MR0/CsGm4ux0ZXR9ri4X2Wr9Fq/wAEbvg+0/s1bOxtogkEdmke1VIVQuBx6Vu6ncLFF5W4eY44GecdzT8K11tXKDyj0GO9UdUthu84MGfGHx1FdkouFOyJk5qMm3dtt/eUXm2kImN5OMU9U46gZ6Z71FbgNLtZcbBgkdPwqRjk1xnGLnsRTZFypXJAI6inBj0PIqa3iEs8aA5GfmoSu9BqPNobC8QKPYUriTflWAXHPHOfWhgQGO4nPQelPr0uh6S3EBBANIwLDAYr7ilAAGAMCloGRtGoUBQfvA/WqK2EksrSTsF3HOFNaVFTKKluRKnGW5RXTYQeWc/jWf8AZBBqgjUMsMr5z6Gt6qt0o+zs+3JR934d/wBKzlTilexLoxeiRUm0y7aYPHrd1EcjIEcZLAdskdKtW1vNC0JmuZLlg/LsoU4PTgDFPe1hkbzGLlsDDbyMfSnxQyCQbrhnTI4KjPB9a1RTv2Oe+DP/ACTLRf8Ark//AKMaij4M/wDJMtF/65P/AOjGoqiyv8KgsngbZ1B1HUlI/wC36euh0Q50m1PU+WAfqODXO/CZgPCYXPXUNRP5X0+f6V02mf8AHoOc/O//AKGai+pC3M1B/wATVv8Aruf51zfig6zH8ZvCzWt5ZR2MlncJJBI0nmzAcyEADado8vGSOp6108o26xyu0s4P1965Px9eLZ/F34fjymd5zewgh8BQyR5JGOenqK5FpF+q/M9LJYt4mpFK94z/APSGz0So2+aZV4wvzH+lSVETsn56OMD6iu1HnsD+7lLfwuRn2PSkuDgDJwOMn05FNu5lVCgAZzwATjmmPdQSEquZDjoozxwQeKpJ7mcpRV1ct0jHapY9BUVsxZSC+8g9afMC0TBepBxU21NE7q6Et1ZYhuPJ5+me1SU1GDIGByCKr6i1+kSHT4beaTeNyzSFBt7kEA8/hQwWxaqtef6uT0ERrPa58SoHb+ytOfrsC3jAn0zlPpT7a5nuIrhrhUicRYCKSR1OSCQCenpTi7SRFV+7Y1j1pGAZSp6EYNKetITgZPAqTQZCxx5bfeUfmPWpKgicTMJUP7sZAOPvf/WqYkAdabJi9CikKwau0wYYmjOR6bTn+pqGJG1K8Nw/FvESsakYLHuaDJ9rudyNg4KICeAM8sfy4FaUMawxLGnQCpmrtR7bmdOK36XuEfV/97+gp9RBlQSM7BVDcknA6CnpIj/cdW+hzVs0TWw6o4/nkaTt91f6/r/KiVjgKpG5uB7e9ORQqhV6AYFLoPdjqKKKQyGb/j4g+rf+gmmyv/pCBULbASxHUZ6D/PpSzkLPAScDLc/8BNOhBJaRurdsdB2q+hnu2vP9EKpdmDFSigdD1JqSimjduPYdhUloGOFbaAWx0pR0po2FiwPI6gUchRtUfTpigY+mx/cFIpYFQ2DxyR60REGMEcijoLqEkccn31B7fhXlvxn8P6fpdroniu0tNi6PcQ21yiklfsTHaU29MKSpHpivVazfEunW+saHd6ReJvt7yF4ZB7FTWVam6kHFb9PXod2XYqOExMak17u0l3i9JL5pmHpuj6fYzT3ljaxQNcnfJKvHmHrn8c5/GpjY6eIYYTBG0cBzEgQbUOCOM/U/nXLfB/ULvUvh5pk97IZZo/Mty56sscjIpPvhRmutPAyeB6muCFTnipdzycfhZYLFVMNJ3cJOP3Oxkt4S8Nf2Y+nx6NZfYWkErQhON4GAfy4+nHSrFzo2l3kE9jcWMD206r50e3Cvt6Zx6AAfhVDV/G3hLRWdNT8Q6fC4GGjEodwe2VXJ/SsyLxzLqDFfDXhLX9ZUjmYW/kRe2GkxkfSj20b76nXRyXMa8VUjSaj3fux/8ClZfide22OJI4kVEQBI0HAA7D2rJ1TQtC1a5t31HR7K6uYWBjaaEMyd+DWaLT4pasMLYeHvD8J6/aJnupcfRcKKgtfAer3E5Hijx1q75P3NPiW1iYd13AFj+YNHvSXwP56L8f8AI6qWUyw01OeKhTf91uUvk4Jx/wDJkdJqGp6To1sH1C/s9PgQf8tZFjVR7CuW0PTZviZqMerajHLD4PtZN1naOCp1KRT/AK2QdfLB6L3rqdG+GvgfT5FuI9DgvJwOJ712uXP4uTXXIqoioiqqqMKqjAA9BWsMLKTXtLW7L9Too1sJl6csI5SqP7ckly9+VJy95/zN6a2V9VC9lZPH5b2dsyf3TEpH5YqpdaPoxQs2k6eWyuSbZPUe1aEjhAOCWPQDqahlhTyfnUM24Ek+uRXeoq6ujzHXqRT5ZP7zzbwLFDp/jTxpokKKkAvYb2HYm1VE0f3ePdTx7iuvPBrkPCe2P4i+ObeRtswvYGSMjB8nyQFYeozkfhXaAB08xhyvUf3q8qmk7pd3+bNuILvG3lvyU2/P93G7GL8gDnr/AAj+tRyLHnzHjBKjrTnbqzECi1ja5njVvlQsDjuQOea0jq9Dw3roi7aaW3l5lleINyYo8YH1znn6VYt7K1Q7Y4gQD87tyWPpn/PpVqRWc7eidznk+1PAAGAMCvRilFaHfGjBdCr9ljkZpQWil3MDJGcMRk8Go71ri0iSZZ3mG8KyuF6HvwBVuD7rf77fzpl9brdWzQsxQ5BVh1BHQ05Nu6Bw9y8dzF+IPhlfF3hmTRmv5bAtLFMs0cYcqyMGHB4PIri/Bl54i0/x34g8K6p4hk1i3tbaC4ime1jhYM5IYfIOnH6V0fivxzD4btrezmsbm/1u5cxWtjbLlp2A5bPQLjkk1ieBtF1S3u9S8SeIin9t6symWOM5S2iX7kQ9cdz615uJcfaLl+Lr6efQ96nXlDKant7ckl+7TUebmco3cXbmSSi1J3tfTc6onahZjgdzUMBaQZjUl3OSSOAPr9KlcLJ+5DfMMFgfT/IqSTKgR9O7fWnay1PkrXZBgRXCbWLOVbLn8OlTHhPduTULg+fGccYb+lS/wfQ0pPYUd2CcOD1wc0+5maeUu3HoPQVH0HuaSpu7WKu7WKk2p2EM0kMl0iyRlVdTnILdPzq3ZahY3Z8hZY3baSGAOcAU1oXmJWOSRGIxlMA/nTrdGtUMS3VzMGxuZ3yRj0OOK1jyJXNY8lritIqOY1U7HXnPU4/l1NWLV7RJB5wOOxY8A0ifZpbhGuJFVi5ATOMkg1o+ZYrlA0Y4wdo7VcY7NtF0aUpO/QsMu4dRtPpThx04rN06f/RvKeGZRG+F2g9BzirZnmwNtpJ+JArdVItXO1osVVnlLlo42wigmVx/CPQe9OP2qT5SFgXHLBtzfh6U4iK2tT8uI0U5HrT+L0E9EY80LysjJcSRKmdqrjG3HAP8/qai3fvMrczP0GFXrye9BLyLiRht/uqMZ+tGeo7VU8aorlgjxnFyd2OZt3zN97J4z0HajdmMrjvmmUqnBrz5TcpNs0WglPl5kNNPBqzFZzTNuxtU85NJRb0RUYt6Ik0dsXDL6rWlP91f99f51Da2UcDB8ln9amn6J/vr/Ou6jFxSTO2EXGFmRQG3u2FxGrExsVyRim6tH5lhJxkrhgPpVZNB0xJPMSOZW3h+LhwMjHbPtWm6hlKt0Iwaco3TXc2sjM0YPvZtp2MvB7Grd9cLbx7pN+wcvsUs2M4GAOf/ANVJayFbZU4aRcrjPp39qS4tPPY+cwkiKjKdMsCCD+lFJcsUZxhyrlItJ1K1vo4/s8N1EGj3gS27R7ecYORwfarU9vDOQZFyR0IPNVtM0yxsXkmtoTHJKB5n7xmH6nA/CrwI9RVNJ7l2TVilp2y203r8qluv+8adp8cjM9zLwz9B7VDbRmaBI/4PMYt9ATWjROPvvsjCirxj2SBiFUseAOtRpGGjPmKDv5INOlUtGVHX+ftRG+9c7Sp7gjvT6G3Ux72yu4JDJYzCEsxGTEZeMZ7EbehHXvXKxT6lrfxVubW3udsGjWiB5PLJG+Y7tpXcASFAOeoz0NehTSLDE0jkBVBJJPQDrXIfDYz3Gg3et3EySz6tdy3CsjBkEQYqgUgA4CgcHJ61jJe8oo78JGNKjVqW6cq9Zf8AAT+86PT1vFuT9suI5mMfy7I9m0ZHHU55qx5Ef71gozJ97jrUUG43fKlR5Wc568irfat5Hnx6nOqcEEU5EhaQsQxIU7R6Go/3nmyq4AAchfpUkQYuuDjnqa8xb2PPW4nRc1f0aL5nmPb5RVKQLuPltle3rWjpjN9mKqvQ9c9Sa1ox981or3y6/wB01Uv782sojFjeXBZCwMMeRx2J7GrbcJjk/WnV29Dt6lC01JriZIxp19ErgnfLHtA6deeOv86v0h4BIGT6UA8456Uhi0UgByctnPQelBAOM9jkUAAJyeMf1pigMjqehJBqSmR9G/3jT6C6kVnua18snDplCfpU0DbsZGGBww9DUUXy3cyj+IK2PfpUifLcj0fH5iphtYct7nOfBn/kmWi/9cn/APRjUUfBn/kmWi/9cn/9GNRVgc78MZ3tdBMiKSDqWo7hjP8Ay/T11GjawiafGJI3OctuA9SSeO3WsP4dWyzeDEIgfeNR1EBgVwf9On9TWjp8nkWEdvNbSsAo2zArx9fmrCXNF3l+ZwSUoSfK/wADdllhnFteRuHiRskjtkYrk/iHZl/HHgTUVs2nMGpSxtIEZvKV4TySOgyo5NX7C+NrJJutpHt5GIYrtwB+dZvjvU7ZdG0y6mA/0LWraIu43AOXCgfIw5w3fgd6U1o38/usetkuL568Uk+Z3js/tJr9TvD0qk1vPcBTNsjKk8jlsc8elWDNJn/j1m/NP/iqTzpP+fWb80/+KrpV0ccuWW9/uZAtrHHIzPumlLZXJ68Dk4/nVqNdmFJzwf50zzpP+fSb80/+KqG5vvIIL20ucHCgpk/rRJu2rJThDX9GTOG82QRkK5QYJ55yax7nVLpnnhiPETbWcW7HJHUdaswvcX8CzSR3MaMCAkLqvGccnOe1S2T7cx29nKkMZ2gBl+Y9yeeapNReupjKTqW5bpP1LGnNK9skkksUisoKFEK8fiTVmsSV7zTjm3gZoHfIjfb8vrgg1P8Aa9XLBf7LVc/xmYED8M/1qWrsuFdJcrTv6Nl65uYrcDzGO5s7VUZZvoKx9RhWT/SWsL0yhD+8QgDv2J96twCZLr7RdRSPMV2pgKFQdwPmp+oXojt5Va3l3bDwCpP6GhJJq4SnKUW9V8irPqU0Uvzh4VXj96uM/U+tXHMl3pZYBWZhnA6MAelD3dxICI9MnYH/AJ6FFH86qvDqCsWt42gzyVQrtz9Cf8KyUVe6YWkr3bafkTNHDcW0c95MzK65VF4AzjgAcmov7OjmnwyyRREAgFs5x/KrFpG0CgtbTSSAY3Epx9Bnip3kZxhrSbg54ZRj/wAerW831siuSFk2rv0Yz7IIVY27FcjlDyGpbMtNbqyzHZjgheT+NQi4mNsUWzmOBhmLLwD+OTwaTyGIQCO62L0UMm0r6YzUezcPh2NFUjPv9zLEcccUhZV6y5Zvw6/r+tZMmoaxNtaPw+JYwxIkjv0yDnHAx/nNWpYsKVjtblMyfdSRVB49j+P4U62tTFGU8q8Kk7tu9B2x2PPSm/aX2/EUXCzX6Mj0xrkSzNc2K6b0bm5WTzeucgdMf1q2bpFGRcxMcZxj+RojVIxhdPf6koT+ZamSajDGzRyQyKQcEEr/AI07VJdvzBypxXb7y5FIkgyjA0+sP+0IVuDLa/dKliuVIPGcjB9qsRawjcNbTZ9VKlfzzx+NDjJfErBGtB7MtXGXvLdc4VSSfc4OB/n2q1WV9tH2qPdGcl2IAdCcbe/NWlvkY7RE5PpvT/4qhtaar70KEtZOz37Psi3RUAnkPS1lP0ZP/iqPOk/59ZvzT/4qjlZfOv6THIczyDPTAA9v8mpOoPUVTuLoxyRFraZTk85Xp37003txIwWGylCt0dyoH4DPNEtBKa/pMuou0bR07D0pFZVQbmA+pqlH50h/fR3RdTyFdVGPpnpSwRRogxp8h/3ip/m1Tafb8R88fP7mWGuoAcCTcfRRk/pUF5NM0DNFbv8AKCcvwCMEdPxqRZpDGfLtJVPIH3MZ/wC+qaJZJLYKlrMeACCyZ+nXrTUJdxSqRtovwZ5V4N+H/wAQNN0WLR/+Eq03S7GKSR1NrZmaVg7lvvPgA/Mexx71vxfCfRLhvM8QaxruvOfvrdXhWNvYomBXcx3TyLuFpMOSCCU4I6j71O86T/n1m/NP/iq5o4ClFWav6u57VTiPGVKkqsGoSk224wUW29/eS5vxMvQfCPhfQtp0fQNOs3UYEkcC78f7x+b9a2P+Wv8AwH+tQiW48wk20mzAwPlzn/vqjzpPN/49Zvu+qev+9XTCmoq0UkeVXxVSvLnqycn3d2/xJ3bYu7r7eppsCeXEqccelQzTTYTFrLkuO6f40/zpP+fWb80/+KquV2MudX/4DInsgsnnWz+U/PHUU6G5bIW4UITwGH3Tjr9KWWeVUOLWYE8DlOv/AH1SEkxeU1lKUxjBKf8AxVQ6b3QKavb9GTQAkGRvvP29B2FE/wDqvxX+Yqost1bgKLOeaIdPmTcvt97mmXWo7Ij5lndodwwCq889uaaeuugpSSi/8mcP8XbSXRNU0/4gadHuksB9n1aNRnzbJjyxA6lGwR7Z9K6G3vPPiiuoFEisoZGU/KV7EH0I5p/jG6WTwfrpaI5bTp1xvQ4Hlt7+9cr8MNTs5fAegW9vNDLLHpturok0ZZWEYyCN2RzXn1UoVrRa1136npY7mxOW067T5qcuS9n8LXMr+jvbyduiOtkjbcshZSh5UAdD7/SrmkLuuS391TVFJpADG9tLtPuvB9etOgup7abIt5fQjK8/rVRXvKTPnoTipKX+Z0THAzgn6UkbbkDevT6VWjunlhWRLaYL1PKfiPvU9JpNo/0WY8dcp/8AFV3pXPRVRP8A4ZjoXUEoWG4sxA/GpqqRSMcsbOUkO2DlOOT71J50n/PrN+af/FU3F3JhNW/4DMDxl4N0/wAUJB9ruLm2mtpvPtri2bZNC5GDhuuCOo74FcBBY3nhP4j6Lp76/qt/a6jHcwSx3c/mL5iIJFYccfLmvXvOk/59ZvzT/wCKrzD4rK9t428Hag0ckSHU2iBIU5aWIx44PsPzrixlGLj7S2qa/NfoezlmMqzf1RtuDjU0aur8kmrXWnvWenU7BCWBdhgsc49qdUQkcAD7PLwPVf8AGmtNJu2JbSFvqvA/OseVtnyfOl/ww+RlE6ZPIVjgde1SQhm3O3AxjHoKrIzJcR5t5futuOVyenvWtp/yxGeW1k2/w7imAPzrWNNuyKpLnk1+jKZOTTxHIITNjCDua0PtEk3ywae+3u7bMfgM806NCr+ZJbTSOB95imB9Bu4prDt7M6lRXVv7mZ9vaXEx+RNi/wB5+P0rQttMgjJaTMrkYJPA/KnvcTPmOO2nB7t8vH60pnmY+WttNx95spx+vWtoYeK31NYOENk/uZYypDAduKViFUsxAAGST2qDzHVNq2kwGPVP/iqgv7qRYdgtZsv8vVeB3/iroUG3YqVVRTb/ACY77VCin7PGTnkkjAp0V9D5KtNKgfA3AA8H6VnebJ/z6zfmv+NUvMkEkubebO8nkr/jRXiqcLo4I4uV/wDgM3H1K3A+Tc7dhjH61Ru7mW62q6hEByAOefXNUvNf/n3l/Nf8aXzZNv8Ax7y8e6/41wSqTloVLEOej/IkPJpO5qPzX/595fzX/Gk818n/AEeX81/xrLlZi5r+kS0o6iovNf8A595fzX/GjzH/AOfeX81/xpcrHzr+kSt941qWF18y27DHyjafw6VjtLJnP2eXn3X/ABpxmkwjrbygjjqvUfjWkLxdzSFXkd1+R0tRz/dT/fX+dVrS9eeIN9ll3Dhhlev50+aaTC/6LN99e6ev+9XfFXszudSLjdfkya4eSOItHEZW/ug4JqrJeXSx5GnybycBS61M1yy/et5B9WT/AOKqJLmQyl3tJlB4QkpjH/fXWrivImc9dG18v+AVjE8rlpdOm3MTnMq+/PFS3Kf6FJZ3EbPHJGVUbsFuPu59atedJ/z6zfmn/wAVTJ2kliZPsswPY5Tg9v4qylTV+aKSZcZWVm393/AMLS/D+jqEhhs54oSxlXMjZ3ZGQfbIFW7fwrosEtrJHDKGtZPMizKeG9T61fhuJZ4Uc206sDzhl6jr3qcTSZ/49ZvzT/4qmlfUanbf8mQaYyiNlJAJc4Hryau1m20sn2OMfZZs+YcEFf7596t+dJ/z6zfmn/xVaTj7zMqM1yJeXZk9FQedJ/z6zfmn/wAVQ08ijJtZvzX/ABqOVmvOv6TMH4lXJi8I3trF5puL1RaReUV3hpTsyNxAOAScZ6A1p6DpMei6DYaRZsVhs4UhXI6hRjn61zXiOS/1L4j6Bpi2Ttp1nDLf3e+KNwZBhYgCc7WBJPBB5rrkkkQti1l2ntlOD/31WcVeTfyO/ET9lhqdO/xXk9/RX+Sv8xF2x3u0k/6tmyf96rKnPY1mXT3DXkZEJwEyUYL8wz67uO1RT6pqsfK6DNKu7BYTouBjIPJ6dv8A61aM4INO5LqFv5crXH3lPOPQ1SUnDkcnFWo9Q1SaCUvoMkRXojzod49sfjVXbcqEkexmTfwUDK20ntnNclSk73RzVqfL7yIfMYE74yqj+LII/wAa09JhlEnm/dTGOe9QW1rMzAzWku05+XK8/rV+KdvLCNazHoP4cH6c1VKg/iZFGFneV/uLT/dNLVdpn2f8esuO2Cn/AMVTvOk/59JvzT/4qunldjr51f8A4DJgc54IwfzparG6bJH2O5OPQL/jSG4n/hsJz9WQf+zUcrD2kf6TLVFVBdyNjbZzt/e5T5f/AB6keW4k+X7HOidzvUH6DDU+Rh7WPS/3MuVGjKuQzAEscAmsq6vGhkMaWtwSOMtKD/7NTNKnnkuD/o0gUEkhdgH86z5435UY/WFzKNvzNOeQR3cTZyCCre3cVL5mSu1GPzA5xgYzVW9kk8kP9klzGwcElOMHr970zVhJ33r/AKNKASOSyf8AxVOKtJm7ndf8BnP/AAZ/5Jlov/XJ/wD0Y1FHwZ/5Jlov/XJ//RjUVRZB8KEX/hDkc8n+0dRxnt/p09b32OK4jAkQBd752nB+8cdKw/hP/wAiWn/YR1H/ANLp66OxYNaLKRsDFnwewJJ/rSZLino0ZV/p1rFcRRoZFMpAGGx3Hp7VxfjiOCPw5q1pLGpecpcqJJxCnnQlTndgkfKoPQ9K9CeFdQKSv5kca524bBP/ANaua8X6LHd6TeCHKTxSMIWU8oWjwpGc85NczT5JWWhthXGhiqVRaWev5/odba3Ec1lDdB18uWNXVs8EEZqKfUIU4TMh9ulcj8OJrzWfBOkvM+LuG2WK5aRw43rlTypIzxk/Wui/su6xxPCT7qRV3qSV0YYtVKVadOKvytq/o7DbjUJmHLrGp44/xqk00e7c0inrk5pEm8nVVjKJKVyBxkHPHfvV8abLMxdwkbNntz+lQ6b05r3POvOre2tifTFMmipHDIoYgk85xkk49utWdPgaCDDn5ickelUrOCWKd41fdMBy6n5B7EetXmgkkG2S4YrnkKu38M1pfmfNbU7qNO0VzbpDZ3WZxHEokdGyTn5VPv8A4U/yZyPmuWGeu1QMfSnOrpGFtliU/wC1nH6Vlmzk8uW4Ooaih3swjWYbR7DjOO9Vy9WzW6VzReGZkKG43KfVQD+dRiNY7CVVUAgMCe5+tJpEElvZIrTSzliXZ5X3Nzz+VLcK4hmkVlZGQ8d+nFVTirpkTd43Lh60UyNxIM8g91PUU+maXuNZ0X7zKv1NDruQrnGRjNZesA/aFOONvB9av2km+0R8ZOMfjWcZ3k4mcZ80nElVVUkgYz1/LFMT5JWjAwpG4f1H8vzqWmeYm/Zuy3cDtWly7EXzCfccbQ2MZ9QOf8+tWKqzYYmMMAzNwOM9ufpVglUQbmAHqTTZMeo6kwPQUE4GTwKYsm5tqKSMZ3YwKVim0RXcIZotvDbsdOMf59KkQjJiZVU44A6EUqId29zlu2OgHtSSZM0e3GRkkn0p+RNrajZFVbiDaoHLdB/smpHjjcYdFYe4pk3/AB8QfVv/AEE1NQ9kOO7/AK6Iga0gYkhNhPdSRTHjePiO4ny3QHDfzq1UaMZG3dFGQPf3qFCPYptkMNuzSebcEuR90MBx74HFWWUMu1hkUtNdgilm6CmlbYPUhH8C/ecPtDd8D/61SBgkW49BTURljjPVkHPHX1pqNvaEfwkFv8/nVma0JYVKxKDnOOfaqtxEjanCWJYMhBQE4BHIbH6flTpovtF20byOqIgICOVJJJ54+n86mht4oWZkU7m6kkk/rRe2omnLS2n+Q9FVVCqMAU6iipNQqKRwknqdowB1PNDMzs8aZXGMt/hRHGiTfKvO0cnk9aaJbb2FSM7/ADJOXxgAdFqSiikNKxG2GnTp8oJx79B/Wh5VVwuGPqQM4+tOZVb7yg01ysSfKoyTwPU0xO6EWUupZELLnAII5/8ArUx0baXdstleOy8jpU0a7I1XrgYqK8X935ij5lI6dxkcU1uTJPluxL6KKS0kWSGOQFTlXUEHNedal8P/AAXfSHzPD1nFI/JktwYX/NCDXod/89mZFJwuH471h5bzMY4A6+tcOLpxlbmVylj8ThZ3w9SUP8La/I4sfD77EQdA8WeItJCrhYvtPnwr/wAAkz/OplsfiZZqPs+taHrioANt3bNbysPdk+X9K7GnCTyJGXGWCjJPTBzkfWuONCPS69GdCz7FT/3hRqL+9GLf/gVub8Tk4fH+saBH5Pi7whe2ttkg3+nSC7hT3IA3Ae+K7nw74g0XxDZC60TVLW/ixyYnBK/7y9VPsRVax0+ScmTzWWE9GI5YewPGKxdZ+GPh2/vG1G1e80nU+q3unyCGQH32jDfiDXXTWIgu689H9+x2UcRgMUkqlN0n3jeUfnGT5vmpP/CdhEGYNiTA3t0Az1NKyeUu9WdiOoLE5FeeW3hf4kaTI8uj+N7LU0yQIdXseTz1LxkEmrbeKPH2l5/tnwD9ujXrPpF6smffY+D+HNa/WWvji18r/lcccn9ol7CtCf8A29yv7pqP4XO9BBAI5BrzP4ryxT+K/B9lLznWPMAPQeVCXz+bD8qbqfxa0+C1e1sdF1pNcnPlWemXdi8TySngYJGNvOTzTtB8DNp+o23iHxPdS6r4klDStcNIfKt3IwY4kzgAKcZxzWVWqq0XCnr3fbX8/I6qWDnlS+tY1OGklFWu5NxaTWq91NpuXfRXd7dGblT/AKtHk9wMD/P0p0YmO47VUkg9c9KevA28D2FOX71Y21sfH6JldoybmLLMTtbH6V0FpZwxRplMvjksSefxrO02HzL+N2+6isR9eK1TOctthchc5PbiuqhSVk7HRh7q8mT02Rdybex6/SlBBGQQR60EjGc8V0HWNmbbGcdTwOe5pUUIgVegqpNdw+cqnLRqcllGRnt0/wA9Kla8tlXcZDj2Rj/Sr5JW2MlVhd6k7fdP0qlqRXzY8t0Vs/Tj/CpJb23WB5PMBwpIXoW46AGqUpaXezEZf2yAK0pRd7swxNWLjyrqGevc+lUU5BbqWO41YhiaLLMyHqWIj25qupBUEDAPSsMd8KOKO4tKPumkpxHyCvNRqNo7mijuaBBRRSjrSAP4fpTl+4w/EU6Ro97eXH8vuaF27Wbbt4wOetVbUqw6znMEwb+E8MPatN9sypKTuQuNo7detYtaun4/s6HGR+85z67q6sLJ3sa0ZXvF7F1UReigHOenelIBGCMj3paK6DuK4JjdgpBjXGVPUE+n6VOSAMkgD1NQyEbJMdWbaB156UXdutxHtLEEdDRK9tCFdXsRWs0ZvJoo3DBsOPr0P9KuVlCzmtXW5Dq3ln5gO69600YMxGDx+o9aypt6pocG2ryRVtf+PFOQPnbAPf5zxU5MzcBVT/aJz+lVrFTLbBW/1YduO5O41agLNEjMeqj866J7szpaxj6ITEynhlYHueMU5fnIbggdDjvSgqy5UgiqeuXn9n6Le3zKW+zwvIqohckgHA2jk/QVm2bwg5SUVuzm/AksGs6/4g8SQbTG919gRvJ2PiDKnLZ+YbicHArr2wM7SAzetc38OtNj0/wXpdqixxlk8+UIXwXc7z98luSf4jmukO1V+6MDmopp8qudePnGWIlyfCtF6LRfgiuyhr08kZj4yPcdKmeMMykcsOMk9u9M2t9rChiP3R57/eFPCErs5UA8nPLVqzgj1BGYI7tg8/LgdqkHAo9KOc9sVJY1H3E4IIHpSRjhlyevBz2oZT5nB4IwR6Um3bOG3cMoUg+2f8aaExpQjKkZTGRnsaUyKzAruwrAd8HJx/OpH+6aGRW9uc8d6OgdQZgvXpjrQHUsVzz6UHPmD5cj19DUMo8mPcrEsW6nnqaAbsT0EgDkgfWmxsG4HHGcVmaxu+0Lnpt4rOpPkVyak+SNyvdlTcyFDkFutWdDDBpW4CliPqajtLJ513k7Fz6da0oI441VBxtY7QT3rGlBt8zOalBuXMySZd8Toe6kVj6cFlmRZpnDAjBPcg1t1g7PL1FkwRiXIHsTxTr6NM2r/CmVvgvx8MNEHX90/wD6Maij4Lf8kv0P/ri3/oxqK6kbGT8Nb+aPwcYP7Oudh1LUU8/KBBm/nGeTn9K7CKNriMbn2wA4VFGNwB7+3tXK/DzLeCLWEAHzdW1Fef8Ar9uCD+ldpCgjiVF6LwKzfvOwGS2tzJez2raHqWIpRGkqxgpID0YHPT19KraffR3upsZNMu8yMqEunyxnaSd306Z9TXRVStyseoXQICqQGz/P+dax6mVS1437/ocZ8LLq202PxBocjhG0rUni2iIJlX+ZdoXjGGA9fWu2juJZ03RQtGuPvSjH6VyOlW1vB8UtSZbdlXUbRLkSCJgGeM7cM2cZ5OABngknpXTa0kdxavHHLEJ8DZvdwvBzztINclG6jZuyR6mZTi6vtF9pJ/NrX8bjo7Mo0l1HOyyOMkugIHfIHanrGshRnumcsD91xjPcDFYenWcwuCDBEH2jBSWY/XIdiMcntWrBphjuBJ52GwOAOMiqVnpFXPK9pK/uLQ0Yo0jQJGoVRSu21S3WnUVsbCdqagwSSoBz1Hen02Rgi5P4UAIAxUhjjnjHpUd4P9DlVePkOPbipAGYYcY+hNMu/wDj0l/3DVR3RM/hZIi7RjJY9yepp1B6kd6KkojmhjmAEihsdKUII4tkQxgcCjePM2AZOMn2oYyeYoVQVxyc80W6i0vcUMpOAwNG1VJbue9NABiY/cyOT6UpBzk/wngDv9aBkHlq29Xk2Kz8KMA547+tMu7VXOVYmTacA/Nn35qePJlJVgV3HIx7DnNMkmljdFZULEZOAcdfWr5mnoZ+zjJaoT5lkigk+ZccEDA4HerCsGUlCDUKFpX3MfL+XC4bIOec/pU6jaoFSy0gXO0bgAccgHNRzNsZH4xu2n8en64qWo5/ubePnO3kULcJbDZv+PiD6t/6CaVGkfDYUIeffFVpBJ51vbt0+f5jzkYP61dqpaJEQd2/66IbIrMu0NgHqe+KcAAMDgUtFSaWCo5+E3YztIP4VJUVzIscJZlL5IUKOrE8YoW4pbD2dEQuzBVAySTxVG2inm3yLK0ETj5VCjdjnnnp1/z0qSKzJWIzTSsVwxQsCu4fhVqP7gq78q0MrObTkrEdvbxwbtm4lsZLMSeOlSkgDmloqG7mqSSshiSK+dpzin01iFUt6elNlZlCheGY45HSgG7BF/E2OrfnS/8ALU/7o/nSooRAo7Un/Lb/AID/AFoF2H0UUUigqMjdOM5+UZHpmpKbt/eF89sYpoTHVDeNtgJ77lxxnuKmqC+OLVjux8y8/wDAhQtxS+FjGj8yKRUyhZOcDhsjrz0rCX94FWNlDkAqSOoroUbzmEkTYAYgnH3vT8OarWVlatAkjQ/N6liSD7elZ1KfPYwq0nKS5TLjWc4jgVnlJ++V498en1rSstMSIq9w3msOi/wg/wBT71ejijjJKIFJ9KfSjSUSoUEtZCEhRkkAD1pA68fMvPTnrWbq82WWFTwOTUOk7WvQN2SgJxSdX3+VIHW9/lRrQfdb/fb+dSVHB91v99v5028Zli2pne52rjtnvW03a7NobIrZE2oIx5X5gh9NuM/nn8gag10OJI5PlYKrYXO3Hvmr0sTRwx+Su4wnIXP3uCD+PNZ2qus7oRko0YI7Hmok+SCbXqc+I+Fop87vbt/9f8hThTIy0szqu5yrYz3x2zVkIkWTJICcfdXn9a45QszlSuky9aRlVgUMVZo3bI+q1YMcZBbzSApPRuFPv/8AXqJ5tvlT+W74hZtiDLH7vArESfVYYJlxfcysVZNOGT/FnGef7vviu+OiVjuhFWa/rZGnPdK/+hqwZgAzFSCCtR7VxjGR6HoKJPKkkWZYJYpuQwkGDtzjOPfGRS100/hPPrX52mFFFBIUEk4AqzIlsx/pOQP4CCcdv/11YmtbVT5jAqo6qpIB/Cls4mjhZnGHfkj0HYf59aWS5VJmjKN8qg7jwPzrmnN30Z6NKklT95GWLGV9ztuCc43senpiq0aeWgQ9RW7MpMRd5C2BuAXgZ/rWdqkfl3G7+8Mn696468Hy3vcxqUVBXSKlOPpSD36UHrXKZATx05pO5qprdzJZ6JqF5DjzLe1lmTIyNyoSM/iK5zRNO8YX+i2GoSeOAj3VrFMyro0GFLIGIHPvW1KhOrflC1zrqUdCa5z+w/F3/Q9n/wAEsH+NOXR/F6jC+O8e/wDYsGf51ssDVGo+Z0mFRQzDLHoPQUxiWOTXOnRfF7HLePGJ9To0H+NJ/Yfi7/oez/4JYP8AGh4GqNrzOiJwPX2raii8m0hjPUMu7655riBpXi8KFHjhAAQR/wASSDr+dSNY+NGxnx50IP8AyBYP8a6KOEnDc1puMb6ne02RtqZHJ6Ae9cL9i8bf9D4P/BLB/jSGw8aFgx8ecjp/xJYP8a09hPsbuvDudvbryW7AbQfX1P5/yqauCWx8aL08eAD0/sWD/Gl+xeNv+h8H/glg/wAabozYo1oJHdsoZSrdCMGoLLcYlVjloyUbPXiuGFv4ya9S2/4T5AAC9wx0eACJADyTngk4x+NT6TpPjS4uZ418elkwHWZNEiVG7Y579PWsp0pQabNqUlUi3HZHX2G1bVD0+d+nruNTJHtYjHy8ke2a8w8R6rq2gTjTU+IhvNR6paRaPCWJJ5GegI5OOtbvh7R/iFe6VFdaj41FrPJk+UNGh+Uds5PWpdSMpOzIp2SUeqR2vG35hgVxHxbEmqaZpvhm3nSF9Xv4oyWYqzRI3mSbffav51oP4e8ZKpZviBhQMknR4OBWHD4Y8V6p4it9VtviHd+VawPGCNKiWJ2fH8HRiAOvbNTUjzRsd2CrKhWjVf2dV69Pxsd+I/L4ViqYH14/yKk2jHfH1rz3yPGl417BovxAhvLi0eNCraRAOrYY5zyBg8juCKjutN+LEc08cPiaKVYwFSUaTABI20knG7hd2B6801JNXTOZprc9A+b7ao7eUcn8RTomIYKx3Aj5GI5Psa4iw0X4kTao0d54t8mBYyPO/sm3IY7uABkkcVqHw14yYYbx8SPfRoOKu6IUWjpSdoLM2Dj8BQfkQLxgYA69e1cdY6L40vJ5vL8dYt42MZkbR4N0jA84HoPfrVz/AIRvxlx/xX54OR/xJ4KJR5XZhGSkro6c/Ihbbk9cDuaincqyt2Vhk9eO9eWaRrniS+O248aXMEgMarGNGgZmd93QdxgAg9w2a3fD1v4i1+0efT/iBK8KkZZ9DgXk84574wfoRSTQ2tDuZWwuByT0p9cb/YvjWTVWs18e5SOEO7f2NBwxPA6+gNWZfDvjgp+6+IKq3q+iwkfkCKLgdHczW9upmuJEjRQSXdsAAVWbUNNMXF/aOuSC3nrkHP8AjXIXvg3x/Cs02neOdOeWUbpUm0GICVvchuPyrlLmP4jaO7trV1H5AOZJrXQ7faoJ65JIP0JFJMidWEdJaHq1vq+n/a47Jb+2knk3FUWQFyAATwDwACD6YNaEsMUpBkQEgYBrzLydeuoNN1nSfGUGo2twHXzIdCgMsZwBxj05DL16YzjFCS/ETyI5P+EguirEru/siH5T5hUMePu4G4nrjsaHZl2v6Hp0caxpsQYX0pI/vNx0J5ryu2vfiJe20Etl4jlcyMCd2kRbdmzdkEepyB9DVzT28eXGtJZyeK5ra1dmAnl0aEfNhSB9SSRj2oVgsekvIqnHJPoBk1kXu/8AtVdq7S+1ju7c47f41RXw34yXOPH55OT/AMSeCsu40fxS2oO03xCVIYMRtKdIgGZDztB9h1+tRVhzqyJlSlUi0jV+C3/JL9D/AOuLf+jGopvwSV4/hZoMcknmOsDKz4xuIdsnA6ZorVFmd8OAx8Oab82EXVdTYj1P22cD+ZruCyohZjgZrifhWrTeHYtudsOo6hkn1+3XHA+vH5V11yyiSMOwEY3O5PoKzvq2hTdkWSQoJJwB1NY7YuruWZGbZJthQg9cHJb+dSiObUZFlZjHa5GEPVwD6f54q1bKjTMyBRFH8kYHTPcj+VVLRW7mS/etO2i/E5L4hWosdc8KeIY5khisL4204bed0U67MAKDk5x1wOTzXWLYwrceYFG0DhevPrWf48tTeeDdWhRC8n2V3RRIyEso3D5lIYdOxBp/gvVl13wjpOsKoT7XaRysoOdrFRkfgcj8KyUY87Xz/r8D1K0fbYSnNr4G4/f7y/FyNfAznFJ/GPoaCyggFgCenPWg/fH0NanAx1FJQenGM0DDPIHrR3zUSblPOZOfvdOf8KloACQoyxAHvUN23+jyjjGw4OakkIxt2b89Bjior3AtZG4Hykt+VVHdEz+Fk5B3k8Y/Wkdgqlm6ChFK5yxbJJ5pnLzFW4Vecf3vekhtgFOwswJZjkhTgj2pynaoDEDsBmldgBz3IFKMDpxQCI52EcYwqnngEdKZIdwj3KcsSrY64xnH6ClujtMbYyAxJHtijBRjIwy5PAAyAOOP0p+ZLd3YFjDPnJCq2do6HgYz9KeysZMhsLjnHWlj6v8A739BSqAOwGTk0mVHYaY+uME/wggYX6UqPuONrD3IxTqZJuAdgw4U4HvQO5JUc/3FPQh1x+eP60qsvyqWG7HTPNMvHC27dcngY7H1prcmT0Y25RXntwy5G5v/AEE08LKvyhgw9W60k3/HxB9W/wDQTUtDeiJSV3/XRETGSJd7ybgD82FxxT0kV2dVOSjbW+uAf5EUy6ZRAwLbd3yg+5qIFWtXSF8uwIDDqeOCT9MUnsUt7FiaQRQvKwJCKWIHXAqjZStc3ziYMDEA8a7cABs4PU5PBrQGAMDpVbTwgicrGsbmRt4A75/wxVRdosiabmtdC1TY/uCnU2P7gqehp1HUUlFIYg3byd3y44GO9Rx4NxJuHzr0P+yf/wBX6VI7qilj+lQmFnIdpZI23biFbt6H2qkTLyLFQ4zeZ/ux46+p/wDrCljLRlY3bdkfK3r9feo49/nyMuw54GcjgfzoS3JbvYs0UxfM3ncE29sHmnbhkrkZHakXcWofNO9VVA2T2boPWpHZFU72UDHOT2pkAXllUgfwk+mO3tSGI0j7yoVhg4HynDcevYUlxubHUBcZ9Dkipqq3EpYblyYlIyR3OR+Yqoq7IqSSiyyflXgdO1R2YZbZA3XFSN80ZCkcjg1HNIltbFyPlRegpX0G9HdlLULuZXeELsHY98VWF462jQ8/72ecVVu5JrhlI84tkj5OTkZ6+1bK28a2oWRI1IXqTzmuVxm3e5xxc6jbWxgXNzGg2mQozDglCeK0LB2jY+SodmG1fQVSuzex3CiGOGROkgdypHPUcHPals7i7t5oWn8rK5O2JyPMY4ABBGMck9fSpptrS9kRCDc01udHbbvLO45bc2fzqn9siOpN5hISMbVPbPc1Ct411DPHbrJEEDO7sp9TwMdao2Wp/bJ4bSWG1jeRARsWQkHoTkrgfnXRO8n7p3K/IuU2ZdRt06bmA6kDgCqL4YLJ9nllY5JCodoJJJ6dcZ/So2tp/MaIRM5HUgcfnSy6jHZWCwLJiZyQMg4i+tKDc01NHHKq3rPRFVbiSW7lTAjYAL5ZUrx2JB9DUoI28d6gike4ceTG0xPEkshxv7cetPiljmTzImDKemO1YVXfbYwjK8dzZszn7N/1yf8AmtXaytKm3XCQnqEcj6ZWrMl8pB8lSx7MeBXXTvOKsd0KsVG7f9WRDdt5l0TgDYNv19arXMbSIFXb1z82f6VIPfk9z6miu2Ksjz5y5m2yG3jeLKny9mBtCg5z3zRdkbUTPLN09cf5FTVBZ/v71W6qW4z6CscRO0PN6CjG7UTaiXZbqvotQ3q+a8MPOC25voKst90/SjC7t2BnGM1zuN1Y9dxurCOu4Bc4GR+NU9Xj3QCQdVPP0q7TZ13wunHINKa5otCnHmi0c+fuikpT0HpSV57POM7xT/yK2sf9g+4/9FNTvCH/ACKOi/8AYOt//RS0zxUwHhXWCSAP7PuOv/XNqf4Q/wCRR0X/ALB1v/6KWvTy37Q1salFFFeoAUUUUAFFFFABRRRQAVn3l2sxW0tjO0kjbTJFGzBAD8xyPy47mtCuc0/ULlIL9XujYaZZTC2muUBaXYDhEXj5Rzy3/wBes61X2UOYFyuXLLaz/T7jflutPtLuO2eykGMPDp1uu+V2znzJAOB7bj79avS6l4gnTZZeH2gZvuyXdwgVfchST+FVPA0MySXE66fFa2sucfNvkLKxAJkJzIGXawPTBxXU15fNKerZ3xbnFW0XRI85fw9e6Jd3VxFO9xq93I89jKSPJ85gA/7vHykKWPU5AJ61pJrniqytJJr7R/MZZJJGUkKBH1VFYcFv4eepI61u6sov9Ws9NDfLCwu5yOqhT8gz2y2fwVqsXuq29pfRWkqTFpNvzKuVXc21cn3PFKnShTTUFa+vz7+prfRI5t9S8VfvoJdDS7ik3E7gQBn7sfuD03dF71H4dl8QabKovrVodOiGJt7FjyeHAxgDnBAPbOOa3/8AhJ9FEzxtequ0qoJBwzFmXaO+QykEeuBTL3xRokMAcXS3KswUrEN3Xjn8xn0zzVgRW3h+2sbiXUtFkbz5gQVklLRshJO0f3Rkkgj1rMhM2j3bzQtdIvnGW4gmbexDYBYtk5Axhcc5POBU1xqun6al3NYavBEkQM0loyZxg4IGOg9cdMg0618UeGdYtvtE10bOe2LBt5KSREZzz3B2nHY4PXFFOMKa5Yqy8jenX5dJapnT2sjTW0crRNEzqGKN1XI6GpK4621TXIfFFpFJOLnR7ptsMxjVQV8sEEkc79+V6YxjjNdjUQqc99GrO2v9bGU42Zm+H5AYLiEqEkiuZAy98FiQSPcGs2/1TWLKO7mjsrm9nEzolsIGCKgDFCrAfNuwueeN3bFbEqwi/wDtS3MaNGuydSwwV6jPoQTnPoTTL3UjDcCGC1kumCCSXyyMohOAQO568e1bTabujClFxjyvoc4L/wAQqXZfC1oDvjERweMlRk8fwhm6elWbHVNaW9it/wCwEtoZWXzJFR8RnHOcD5s9ARwMfNit2y1KC6m8kJPFIV3qs0ZQsvqM1cYhQWJwB1NQaHI+HrvVpl0y61C1aHVZYViu7d1wSoAJlJHA5z+eK66s3RFadX1SX791goP7kY+6P6n61pUAFVdXsYdT0y50+4z5VxGY2x1APerVFAHmth4Z8UeEby4vtAMN/HcSF7q2JCLK2MB1UYCHAAOCSfft0vhDxhYa7H5Ew+w6ih2yW0rYJbvtJ6/zHpV/xRpl1qlgsNrqFzaMkiyFYWC+aAQdpOMgHGOCOtchc+G5fEcF+l5pq2mr2sm6K/VTGJpMkjoBkDpvH146VnThCmlTpqyWiXT/AIBzTlUhPv8A10/4J6IirGgRFCqOgAwBUd5bw3du0E67kbr6j3Hoa4bTPFOtaPq9npPiyCGCCZNkd0W53DoWP3SD0J4wccc11upxJcahaW8zSCNlkbCOVywxjkexNaLU6KUo1NmZFnf6pJqktnYme5hjib57gouDuKqeOTyDnjtVeO0e91ldJ3yJBYKolGxhvJALMT0YPyOx69ea2Ght7TXrCONViX7PKij15U49z1Na4Vd5faNxGCcckVSlY6YVlC/Kjj/grGkXwu0OKNQqJCyqB2AkYAUU74Nf8kz0b/rm/wD6Maimc5T+FOIfBokcgo2p6iST1X/Tp/0rcuVF1dxQgBkckvj+4D0/E1j/AAqfHgtRtZv+JjqPQf8AT9P3ra0ny2v71lOfn4+mf8aGc9XWSj3NCYrFA77RhFJ6egptrH5duity2OTjvUWquVsnCkZf5fzFTWsomt0kAxkdKy5lz2N01sPKqQQygg9QR1rlPho4hstT0ORw0ulX8kODKjsI2O5CQqqFyDkLjgdzXW1xsVsmj/Fea6HmrFr1koP3RGJofxyWKHsOi0TbTTO/CqM6VWm97XXrH/7VyOku7OSa5V1cKgyDzyBjt71aVQu1euFxk9TWDqviCWy1GWA/ZVhUAqzxzZ+8FbJClepGOf8AGtqym+0WsFxkHzIwxIBAzxnGecfWrSscFkT4HoKCq46CgcjNIzBSM9zimAzb5aFmYEAY+7wPelLKGXjg+3FNSb5QGDM2SrbVJANDh5lK7diH15J/wp2YuZdALFY9zKuMjlefx6Uy6CtZysExlD1GDip1VUGF4HpVa+mb7HK0cTOoQ89Mj29acb3RNRpRZOqLEp3YwO+OgpIVGC7KNzcnjoOwoUGU72xtz8qg5/E1LU7Fbu5DOu5o1Xg7s5x2A/xxSgsJRGwQ5BORxj8KRpF+2LGWwQmceuT/APYmljK/NN2PQn0FV0J0voQSLH9rVt37tVJYA8BsgA/zqaSSMwOysDhSeKqiKZnaZVVlck7ehU/jwf0oO1v3cluZHB+4QAv16VdjJSavpuSySOLcvbrG8jsNm7O3nHXHtUdpJqO5jfW1pFGB96KUsScehUd/ep4WkXeDEzHd1XAH86fuDOquGQ5yAcc1DWprF6EmB6D8qQqpGCox9KdRUmhGYoyu3aBzngc5pjKokwq73x/EeAKnqKP5pXkydv3QPXHemmyGkQBfKuIImC/eYqQuB0PGKt4HoKgul3zW44yHJGR7VYpyewoKza/rZFG9kxKnRY0PLEfxdBj8SKeWaN40ZEdwFL7Rgkk4z7gf4VIgRS6vtAV9wz2z3/n+tE37tXn3AkD5crkKO/Sk2VFdSbA9BVa02m4usAf6wDr32jt2qa3k82IPjB6MPQjrUEzfZ73zyjlHj2uyoTgg8dPqfypx1uiZ6WZawPQU2MDYOBUIvIxtZkkSJjgSsuF/xH16VNFzGCORSaaQ1KLeg7A9BRgegpaQ0iyOQDz4l47n/P51JgegqKJmeZnU5i2gD3NTU2THuQzqjlUMYY5z06CkKqj7F6leMjPOTzT9gM+/aQQMBs9R6U0lvtWF5BTn0XrRdhyq9xYYliQgsWOSSx6moVd8glQqsdxYjgDHHParEMYjhWPJIUYyTUKRO8RSQhsbgp/MdPpQge42NJWYtuZSxzu2jAXsBmpWlt42Eck0SvgcMwBNPjbegPQ9x6GoLnT7C5mE1xY200oAAeSJWYD0yRSY0lYBdwG48vMezaGEm9cE+g5qS7KLAS2AMjn8RVeTTdLG0NYWoLPkEQrkN1znHX3pL1VuNm1iy7tpPbqM047oio/ddifb5UiRpgqx/i6qKkmjWSJ0KqdwIwRTERZDKxztYgA/TuPxqO7l22ssbSBJdpCn1OOuKUnZXYJabFbRViNoYGGW5ByeWH86t3a24EfnbQqnhSM5NZlsLm1sBO1s6ynaDjBfLEcKCcfr9Klt75VuhH/ZWpGRiMyPEMduc56c1km5LYcKaUUmK9vNfSFvKS3VTjJXkj6Vat9NtYsFkEjju/P6VbJA6kdaWhUo3u9WNRS1II40ZWyoGHbBHBHNL+9Hy7FP+2en5U6D7rf77fzqStm9RRirIpajMbS0Hl4MrttQkZ56k/lk1iRw4fzJGM0pzl2Aycn2rR11X+027k/u9rKP97g/yB/WmaWqtdjd2BI+tc1aUnJQXU4qq56vL2LcNn5NlIUUee0ZwfQ44rnVeO3upBPtG9VZZMcHr8v4f1rqdRkMdm7KcN/CfesMAAADoKmq1FKJWJglyqPQqInmXaTEMoKsEGSMDjnHvWlafNAGOSSTnPr0qo//AB8R/wC639KeFwflZxznhjV0cR7PfY4lDVl7A9BRgegqozTE7Wkb6AYNNJcHcrMSOgLcfSul4ynexXK+xamIWJjtB46etWNHtQkYmbBJGBx+tZ8jrNIu0ngcg9jV6xvEjLRyE7M/KeuKyrVYuol0Rth+VSuzSYDaeB0pcD0FV3vbYKf3o6dhTH1C3UfLub6Cm6ke53ucF1LeB6Cql9dJCpRMGQ/pVafUJJF2xLsHrnmqRGMM3OawnX0tExqV1a0RQRksyIc9eOtN2xn+Hb9OaDSoueWOFHU1zXZy7mV4vi/4pTVpAqsospx/5CYf1qTwh/yKOi/9g63/APRS1H4wbz/C+sRrxGun3AOP+uTcf41J4Q/5FHRf+wdb/wDopa9TL7e8CtrY1KKKK9IYUUVj3urQ6MiT6tNJDHNNHAm/ad0rvtAQLzt5Xr0p9Lib1SsbFFZlpr+lXIUx3S/Myque5YZX8606SY7BRRRQAEgAkkADqTVD4d2sGoWuuTTxLNZ3d+TGrj5WC45x9Rms/wAe6tDpPh64eZ1QyxsqlmCjp059en410Wh6NdHS7KzutlpYwQriG1mcPK+OWdwFOP8AZHU9SelcmKltD5/p/mVQhz1b9F+v/ANm+1Gw05UW4nSIkfJEoy7D/ZUcn8BVI/29fp5kM0GlQk8I8PmzFfUncFU+2G+var9lpunWLu9nY21u7/faKJVLfUgc1arkPRKunWFvYRMkCnc5DSSOdzyNjG5j3NVbyHSbzVES4UPcIvA3EDg5A9znkVqVzOu2TWdwt5A0mGYsW/utUybRM5OKui/beGdCt9nk6fGmxw4wT94SeYD1/v8ANNj8K+H442jj0yFVdxIwGRls5z+dNs/EETKFuo2RsfeXkH8KqX+tvcQSwpFsDH5W3c4o5kS6sbEHibwtFdxSx2dskayROjPH/rAHILgE+uBUXhLwro0ukfaruyWWed2Mhdj2Zgox2wCfxJp+k3dyt/AomkKlwCpYkEVtWckNv4gu7PeEM6rNHHnhjzuIH5Zoi76hCXNqVri30O8mWxS5AeE+UEif/VsOcexFW476SyWSHUmUmKMyLMvSVQcdOzcjj34rlNUsm0/xHIlte28LSyefiWPO8Fi5A6ZYHP4MPSp9Ae+1q607XdchiiV5HjtIo2OxkIyrlSThiR0OcYFdU6HKuZPRmeFxDqSdOUddfwOg03SLWS0Sa/tI5LqTMkpkGTuPb8PSr1lYWdkXNrAsRfG7HerNFc50FHWLWS4txLbYF3Cd8LZxz3X6EcVE2sQtbjyomkuWcRm2YhXDHsc9sZ5rTqI29ubkXJhjM4G0SbRuA9M0AQaNbS2mnpBMRuBJCg5CAnhQe+OlXKKKACiiigAooooA5X4pWkF34VeOVEaQzRrCNuWLFgML7kE1L4fYx65/Z0rFprG18kqSThNw8t8/7S8H3Q1H8To5x4dS+tgfNsbmO43A42gHk+9P8GBb691PX2x5l1IIox/EsKcrn67ifoRT2d/L/MzpNKpP0RvahaJeQCNmZGVg6OvVWHQiqunXbpc3Fje3CPNEQVcgJvVhwcfXIrSqC5srO6dXuLWGZl4BdAxH50jQ5f4M8/DLRSOnlP8A+jGoo+DChfhjoiqAAInAA7DzGoqwIPhUR/whaLnltR1LH/gdPWlpqtBqhR+C2Qee9YvwnaQ+Ho0fbtF7qTJjr/x/zjmuk1gBYo5EAExkCqe/+elSldnNV19/+VlhCG33LnKjOzjoB3p1irLax7vvEbj+PNJcLtsmReBtx+HepwMAAdBUJe8dKVkLXHfFiG+j0O01vS7YT32k3sVwiiFXdoywWRVyCRlTkkc4FdjUN5bxXVnNa3ChopY2jdW6EEYOac480Wjowlf2FaNRq6T1XddV80SRyLLEsiHKOoI+hFN++3zKV4I69elch8MtVjOkXWgfvJ7jQrhrKUxwrGpUcxlVB+7tOAe+0murj86Uq7ERKRkKPvY9zVQfNG5niqfsKsqe9vxXR/Naj5Zo4nijY4MjbUAHfFNmWWUhVIjUHOSM5IPHFCIsdzhSxJUk557+tT1W2xhZyvcrxsyylWUjc2fvDHTHH4/zqYsFOCCMnA9zTbkKYXLKGwCRkd6b5Lbdpmk29sHBx9etG4K60EO6VsA/J0P9RS3f/HpL/uGpVVVUKoAA6AVFef8AHrL/ALhoW6CS91ilQtyCvGQcgd6lqIfNcucfcG3PueT/AE/OpGYKpZjgAZJpMpdSpJCZL5z8uAoyccrwRj34JqS8LGPy4x6b/ZaEWVlZt4j3HPC5IH1PH6U9l8uB8HLYJLHuau+qMlHR+ZHG6p93IQLuZeu0HuKs9vaq4iKEIuVwPkbrgehqVMIFj9uw4qZWLhcI+r/739BSXBjER8wkKeMgd6WPq/8Avf0FAkQzGMN86qCV9j3pPcpbDLWYTRBgc44JxjPvU1V5N32mN0YgbtjqR1GMg1YoYIibzmHyYj9MjJpYiFgX2WnS7jGwX72OKjHlSKMEfJ1BHK8d6fQWzIbqbZLDKw2xruLk9R8p9KnuJFjhLNnB4461EMGWFd7SfMwJYdfl+mMU9VdmxKgIywBz2yMf59qHsgju/wCuiIEZXZNzeY27apIxuwpPP4Gp1bEUqxqHZDtCDoOAQOfqKZbOJJ5VRSqINhHuP/rGrBXCkJgE/wA6TCJFblc/u8lGBY88Kc9v1/Kp6ai7VAJyfXFOpFDZFEiMjdGGDUGnOzW+xsFo2MZIHXHQ/lirNULKVlkuIFRywkLAHoAcHk+5JOPSrSvFmUnaaZfqtK5l2qi/uifmkz79APrUhWVvlZgq+q9f/rUk8bGNYo2aLphl7Y7f0pbFvUkDrvMefmAzj2ply2yBn54x069akpsxVYnLEgAc4qWUyvJeIkoi+8xfBwOlWP8Alsf90fzrJ02IyXQfB2ryT71rf8tv+Aj+dRSk5JtmNOTkrsfUa7lcg8qTkH0PpUlNkGUPzbff0rRGrGqNszf7QB/Lj/CpKh+cXCszKykEDC8g8Hrn2qahiiVroO0iKgfI+bIIwO3NVNal8iFIo/l3A59hkdPfOK0ZE3DI4YdDWHqzNdX6wYK7diuPQ5z/AFqKknGN1uZV/ga7l+wt7nyB5kzRoeQi9QPr2qxHFHbzDagw/APU5+tTjgVHcD91ng7SG/I5ohBI1+GOnQS7tbe7iEV1DHMgYMFcZGR0NVI9E0mNgyafAGHQ7enTgeg4HHsK0PpzUF3NJGYljC5kfbuboOKtK45SUVdla1tZvtW6ZcRqSVGcjNWJL61jM4aYA267peD8oqC5N0Qq3EiQxk4byCSx/Ejj8OaiOj2ch5iKr2z1b6//AF6lU+RaHNeS0pr7y9YzR3FsJ4m3RyEspxjIJqesy1tL2CMx294nlK7bVeLJxnpkGp4r0TbY4Qrzf8tFycRn/aPb6da0abvY0p1PdSkrP+tiPXc/ZYwB1lXn07//AFvxqXSlUWisFGSTk/jWXdNcTuJ58iPcfLQH5Vxwfx69aktjd7SsAfaeuBxXNOdqlrbGEan7xysWNZkyUiB6Ek/X/JrOo/iZjySeT60VzVZc0jOrLmlcjf8A4+I/91v6Vdjmgj2skJaQDqzcZ+lUn/4+I/8Adb+lSUr2sZQdmyeV1uJN7HY5HPoTUW5s9c/XmkU4YEdQaVxhyPQ0m29S229RVYYww/LigHnOAB9KZSnsKVxXB9uDjJHpTiRgYXt3OaY33T9Kc3X8Kd9AuIST1pw+ZQnfPHvmmVJu8vhfv9z6UkCEYLET53GCBtHcmq80h3HznMY4wi+hOP8AOK0rPTxNKJp2yAoZU9znk/lSajZ+U3mRrlP/AEE1t7NqN7FOlNx5uhgeJ+PC2sKI2AFhcDtj/VNUnhD/AJFHRf8AsHW//opab4p/5FbWP+wfcf8Aopqd4Q/5FHRf+wdb/wDopa7cu3kJbGpRRRXqAFYfiqF7gQQ/2bFeR4Z28yIyAlcEIMfdJI4Y8DFblFJq407HCzNFYX0M0fhSKIxzCKOQwlVDZXaQeuMs+OO2eK7qkZVYqWVWKnKkjOD6iloSsDdwoorF1Ca+1bVW8PaO4ikCbru5PIhQ9h/tH+tKUlFXZEpW9Tn/AB3JHq1/bw2M5J08O1xcRlWW33/u/myCOM5PFdrqWhakNSims5rX7MkSRiScktFGqEFF/wB47Tn278VNfeE4IvDX9maQsUUoeORmlGRcFG3YkPUg1atLr/hIdIu7SW2NncxP5M8Uh3BGGDwVIyPQ15c4xlUdXls3ZfJba/N/eejh6coUved3czbzTvFH2RorPXVMzRIS7uuUkJ+bHyY24xgfWtTw7FqlvcTjVNUiuhIiFEBGUfL7sYA+XHl468g0h0F9zv8Aa1LbVKsY+dy7D83PIyg47ZNB8Px7F/egMscal1Xa3yuWJBHIznFBobAnhOf3qcdfmHFU9VvrdLFiskEm4YAaUAY9c1w32W6jkiH2sOsSGNlZdyvk8/pxxWa/h5Wfd5yEeSIyrKSCcHLcEHqfXvWbmYOqrG9IAmCzJhvukMCD9Kj82Lj94nJwPmHX0rF/sBtwc3RZsqTkHBwqjp0z8tLa6C1vdQTLOjeW5Ygqecj2rMw0N1WKMHVtpByD6VS0uea+P9rXMjvcSFhGxJ+SPOAB6Zxn3zS6jdeSqwRKJLmbKxR7sZ45JPYCn6bA1rp8Fu7AtGgUkdM0BfQq+Ibz7JarJuHmBty555AO3822j6mu60jS4I/Ddnp0q/6qJMkHlZOpYHsd2TXnFz5d34nhhT5o4G8+Zu25VIC/gSDj+tb3h9InicXmo3ySrjZH8pwpO5Sf97cevXHtXoU4qUFCL21fzMKdaVKo5Nb7dNv8zrrC7kjlWxvmDTHIimH3ZgP5MO4/Kn3Gq2cF69rI7Bo4vNlfadkS84LN0GcH8q5y+mhuPD1zDoMkkt88iyQF0wQ+QSyg4GcZPOOalsIobywabxCl5baiIWW52s8JkjDMFYiM4JwQeM4J7Vzzko1fZ2d7X20/4fyPWpyVaCnH8DZbxDoSkA6vYgtH5g/frym3fu69NvOfSmL4k0MmXOp2yiJPMLGQYKYBLA9wNw5rOj8OeH9V8OCHT/OS1mhdYZUkkBw0fl7uTk/KB19M1dbwtopjWMW8q7ZDKGW4cNvK7Scg5PFANWdmSHxNoCyeVJq9nHJu2hHmUEnOPWtasO18J6DbReXDZFV3K3+tc8qpQd/RjW4oCqFHQdKBBRWL4suNZt4Ld9GhM0nmN5iBA24bCB9PmKnPoDWZa6/4i+yKr6BLLPHbLJIWDJuYR7mH3cbiRgAZwTg4oA62iuNn8QeIlvI7SHQruRVO552UgEBmyp+THIC4xz9O9mHX9ZuLie1m0aTTw3krbzOScmTGeMYyoJyMk5U8YxQioxbdjd1hrH+z5U1GSJLdxhvMbArzfwBrBQGykjJa1Ty7p47hgzwmUxo7DgqwxkdypPPArup47KzvobdrG4u5Z+DM4Mm0Hgkk9OvsK5vxVaNFoN1e28YE8VtNYXsZPVHB2Mcc4UlWB67TRVpzSjJPRPXzW3y1sznlOkqmmr2v939feaVvpviazjj+z3pkzDCkyyS723BV3srMCdxO7rxz0ptzZ+NZ4DG19aqXgZZAmFAc4AwcZA+8friuj0W6ivNJtLqCTzI5IlIb14/nVug2OM+B6PH8KPD8cjbpFtirn1IdsmipPg1/yTPRv+ub/wDoxqKsDP8AhU8a+HlZmwUutSP4fb581vwxz3032pvlRW/dq3Yev1xXK/DCMS6KsS7QJLzUPM9WAv7jiu9TAlYDjjpSfw+pyxXtJO+yYy+/49JT6Lu/LmpS6qm9jtX3rM1jUDCxtYY1kkaMs5Y8KOnbv7VhySfapCLpJXhDYceXLg4HONowetTDlc2my51+kFdnR6refZohHF81xKMRj0/2j7Cn2lujW6GaMliPmDsTn8DTdMsre3j3xLnd90lcFVzwvPpV2q1vuVGEm+af3HI3ccWh/ES3vkjjig1yL7PcOsJJaeMfuyz52qNvygdScV1S/LLsC4ULwfx//VWF8Q/D48TeFLrTkl8i6XE9nMM5inQ7kbjnqMfjVnwfqw1vw9Y6jljI8W2bdGYyJF4bKnleQeDWcXyycfmeniEq2HhWvqvdf/tv4af9umvgZz3paKSrOEr3Q8ySKLnG4M2D6HI/UVZqvtZlMwyWLbgPYdqkE0ZHytu9lGTVPYhNXbZJUN5/x6y/7hpwmTJXncOq45qC8mxbyK0Ui5U7eM549ulOKd0KpJcrJZmCSFlYls5ZBzn/AApqN57kOm0D+Bup9/pUqyRuxCt83cd6VlDFT0Kng0rjtfZijgYHApJFLRsqkAkYBNKQSRg455461GHY7gqknGQTwKRY5X+TLDZzjFCr+8ZvwFC/N97kg8j0pwAAwAAPagBsfV/97+gpx6HbwT7d6i8xYydxHzSBR7k4qahiWxWiVlmUzEFyuR9f8/1qzUc8fmJxjcDlSexpLaQyRbmBBBK/XBxmgS0ZLSMAVIPQjmo38xmkU5CYG0oec96S2kaRCzYHPAx74/XFIor7A72oV5AyOeW6/d6fSrF4oaE87SvIPf8AD0pl42x4mGMjdjPrtOKiWGeVf3jBvnKuOxXHv/nNU9kZp6tL+tCaIMjr5jgMx24H8Rxn8OhqxUEIBYNGCUKg7j344ApZ5WQHYgbAySTgAUty7qKHySRxjMkiIP8AaYCmtcQr/wAtFz6Dk/l1pYokUZABYjlupP40+jQXvEYaVjlQqL2LDJP4VWs2FqWhmYKHfcjE8Nntn1z/AEq7nkDvVa9Uvp0qqu47cgVUX0Imre8t0WqaVViCRyOlJDLHMm+J1dfUGn1JonfYKa6q6lWGVPUU6ikMjghjhUrGuATmh1DSFW/uj+dSUz/lqf8AdH86a02JsthsUmXeMn5lPfqR61IQCMEZFRTRFmWSMgSL69CPQ0+NmbKuoVh1AOR+dN90CfRkboqTpIFwoUg46A9j/P8AOpty7d2RtxnPao55kiwGyWb7qjkmq628rDdJjbncIc/L+J/yKlyvotxpWC5uWMLSRnZCo5kPU+yis7TYi0pd8k7t55zglhxUmpTedIF2kKh4UjoRTLW4EBO4fKxXJ9ORXM5L2iT6HHVqqUrdEat9O1vCHVQSTjntWVLdXEn3pCB6DirerzK0caKQQ3zfhVFHkLBd0hJ6KpOT9KVRuU+VMK03zWuaNheR+V5cz7CoPzNwCB7+op0btd3CsRthjxInq5OcH2HFT2sW20iikVcqoBGO9NjEmAqMo2/I/HQDpiu1WRslKyUh7YecLwdg3fien9alpqKqDC/Uk9SadUs2SI4Put/vt/OpKjg+63++386koe4o7IpxlY7+S1IDK6+cAexzg/rUkpkl3JEcBRyfU+lRFj9ruGX7/wAsSH8Mn+dW40EaBF6CnImmtH8zFWzuDJ5flkH1PT86S4tZoVDOox6g5xW7SVzfV49zP6tG25zD/wDHxH/ut/SpK2poYXu4t0aH5H7e60rWNs3/ACzx9DUyw8rKzMVhpXdn/VjEpZdzMdvHT5iOn+NaMthGxKQu27oT1C/WqVzb/ZpBFu3YA59azlTcFeRnKnKK1GbsfdH596VmGflUCmUrdfwFZXJuKzZU7gDxS/KRwWz2yKY33T9KKLhcfGv8bdB+ppLc/aJwqqzgnkgfnQ5JxnPSrnh6JcTTf9NCv+f0rSnHmdioR5pqJpQqVBJAGT09B2p7AMCrDIPUUtFd56KVkct45tVi8NauY+EbT7g89v3bVV8If8ijov8A2Drf/wBFLWp8Qf8AkTdW/wCvK4/9FNWX4Q/5FHRf+wdb/wDopa0wcUpyt5HFVioyaRqUUUV6BkFFFFABRRWd4gvJ7WxP2Xb57jEZbn5iQAAO5JYfqe1JtJXYpOyuLrmrWulWxkmcGUg+VEOS7dhWt8PtJk03QVlu0xfXbGe4JHzZPRT9BR4Z8K2mmML68/03VHGZbmXkg+ijoAK6KvPq1nU6aHTQoSUuee/bsFc94Iczx6vdE583VLgdOmxvLx/45/Ot25837PJ5AUy7D5YboWxxn8awfhsYD4NshDI7sN/nFxhvNLkvkdjuJ4rPody+Fs6KszX9QaziWOLHmSA8n+EeuK0z09K4zV4pob50nlMrdQx7iok7IwqSaWhUooqldatpdrc/ZrnUbWGb/nm8oDflWSTexyNpbl2isuO4uNTlc2VwYLRMASqgJlPfGewqRV1S3P3471D/AHsRsv49DSGGsNHHLYzSMqKlwMueAoKnv71ZvLhbezluOHCKSAD1PpVWWC7vpI0uoYobdDuZd+8uw6dsYrPhEcfhxbJVHnPI0car1Z1f73sOM0Aa2lW0ltbMJmV5ZJGkkIGBlu1a9pY3s20w24CuuAxRQpWqsS75ERmxkgE119/dLptpDthebLpCiIQCSeB14q4X7lwpqb1OfubPUrSZbpkyy870AOMetTapqcE9vbXHll5VDrNEDgGNhhhn8iPpWgNftWjDrFKVIB6DvG0n8lI+tYM15pFwSLSGYSSFVXc6qgZl3c5Pbp9avVO6OiClTd4E/hPUFj8RXukRCeSEKrhmZmCYUAcnAGVxwowMd666uJ8LaraWt1e27QStJBIqKwIIClGbHXjlG4PbFdBa65DO1kv2eVPtYJRiy7R7ZzyfYc1bdzerJylc1qKx5/ENnC1wGjlPkTrCxABySOo9uCPwpkWvwXI8tY5IPMi3JM5XaD5e/nnjAPWkQkaV9fWtiqm5mVC33F6s59AOpqtq19/xJGmsZgZ7mEizIXO52X5Dj06H6Vw9jdW9xbNqNxbPfznyozdMREkgG4hsA7iMcngA7RjFdVogs7RICIy0hma1j2oFSMLnhFHAXj6nvVtJHRUp0oLe7IvC1r4otbRxqFxDIWcFY53MjqMDPzjHGe2OK1Ehvbm9glu4ooY7cllCSF97EYB6DGAT+dVZPElrHsMlvOqSZMTHbh15GevHIxz6inR+IrWTyNsUv79iqdOTgEd+5O361jSgqUFBNu3d3fzb3MnUbd7Evii2kudIkWN2Urhm2kgso6gY/wDr1m2FzazRrcOC1vc5trxXxt3BcKx45JAC8eo9K29Lvo9QtjcRRuse4qpb+LHU/nkfhTpLG1eyls/KCxSg7wvBJPU59feuqFVKHJJHFUoN1OeL/r+tDm/hUWPhyQKZDbC5k8jeeQuen0/+vXW1wngr7ZoHiq98NXTCS0dBLaSDGc88H3Kg/wDfB9q7uueOiSNaTvBHIfBr/kmejf8AXN//AEY1FHwa/wCSZ6N/1zf/ANGNRWhoYXw9ZrXw7BdxxSvi+1ENtjLDH264zz610moXss8iixkdFYDzCyFSo9Oe/P4VmfDaGObwEBKrMBqOpHCkg/8AH7P6VoXUP2WdVBJik+ZCTnB7j/PrU1GuSyWpwV4yg3Z6MWJFtxF5a4bGWJ5JOTyfWrMOk200QfzryFlLAeTcPGAT1IAP86ry9UbttH6cf0rS0y486WcbdpyGx/OuSlL39TXDNK8S3BGIYUiVnYKMAuxZj9SeTT6aZEBOXUYGTz0ppmi/vjHc9h+NdlmdN0PbcFJX72OPrXD6O82gfEi60lLMR6PrMTXltJGhwl0D++Vzk4LcEdBwAK7FpZWcKkWUPSQdMfSsPxhozatpLxW58vUbZhdWruPMCyr0YLkAnGRzxk1M4O11ujqwdeKm6c/hno/Ls/k/wudA0qDgZY+i80x45HiTcx38bsMQPfpWT4N8RWfiLwzbavZoyeZlHgYAPHKpwyMB0IIrYSZDGjnI3nABBzn0/Q1UXdKUTnrUpUqkqdTRrRoUxq3Ukr0254p6qqjCgAe1Q2vm7BuVQp55zu/GnynoAxU9cgZNDIjqriSfdMi4BUZB9frVbUCJIFmUFtobgdclatffQoPlbHQ9qjv0DWUyj5flOCOx9auD1RFWN4sdIPMHmRHDjIH+BpySBiMA4Iz+PcVHOm11lHytvwxB6j/OKHRo8svz5JJQ4GfpU9CtmS7lcFfm5HOOMU7A49qjO4fMi8nGQfapaksTvQCC20EFsZxnnFLWJqWh/atUW+X7HkDH7yElgDjOGDDqRTA1xx5h2liGzjv0p46ZqGKNUheFPkQfKMdhgU87UIbrxtGKGJbA5JbarEMuDjsRRHtRFXgH06cnmmr5bMTG2GJzkDp60+VScESFMe2aQxlvI0jPldoViBzk8cVIygsGOcg5qunnF22qEbzASCf4ff8ACpny7+WDgYyxH8qdtSU9ClqV1bq8SFt8m1nESH5yMHkD61WGsRxt5EWn6lK8u5gWt2UPgDcckcDpjjntWhNEPtVuSzEbm+XAxjb06dKn8xC/l7jk8cf4+tGoRtd/10KlpeNdWwkihe2wXBSdNrAKSBx74B+hFCySu6xwlYyy7mLpncf8ipkjjd92wbUyqZ/Wi025ZQxymAykDg+vTNO9hW5tyVQsaqmQPQetMSZWnZPOjOeFUdcjrVKOSV9UKyD545MDaMgIR6/iPyNW0VTdudnKgFW9M9aksmZFZkY5yhyMfTH9aI/uCnVWvFL2L7SAQN3JwDg5wfaqSuTJ2VxtuqPfzyoqAKBHuX+I9Tn1xx+tW6itjG1vG0ShUKggDtUtEnqKCsgpr7th24DY4z60rHA/EUtIsh84+ekbIV3A/Q4pVLfaHzjG0Y/WnSqWAK43KcjPrUDTojrM2QjoPrnmnpa5Gty1VITNJctHbsrEsNznkBR2+v8AjUmyW4JMuY4uyDq31/wp0sMahZEUI0eSMDtjpUK8vJFS01HRQpGxYZZz1Zjk1LUUs8URCu3zHooBJP4Cql7cy4UK0lqhP+tZQcnB4weg96uMOxM6ijuQarGVnDKp2kfrmqMwKryCOR1HvV2K0v7yFDc3qtGY8giMcse+Pb8ae+lIqMWmPVcBFC9x9azqYaLlfm1OGcJTvKMdCias6YM3sZGTjcCV7HHf2/rirX9lW+OZJsnqd/X/AA/CrsUccMYjjUKo6AVFKjyPmbNadCV02PqNvllDdm+U/XtUlNkUOhU962R1sdRTImLIC33uh+tPoGncjg+63++386jvZZI4gsO3znIVAfryfpimyzxW9s8k0nlrvYbsZwcms3SLoyXvmTXNuzOGQBQd5IIwfYY7DHNaKDd5HPKqlaHVmnbxCOZwMkDnJ7seSanclULKpYgcKOp/Oo4xm6lcHgBUI9xz/WpqzZulYarBumMjqM9KdUU4UDzMMCOcrjNLBJ5iDON2OcUBfWw1/wDj7i/3H/mtK+XkMfIUD5iO/tTJ2K3Me3GSjAZ9crU0a7Fxkkk5JPc0+iIWra/rYVVVVCqAAOwrL1dSbhcc/J/WtWszWl5jb6isK3wMmuvcZQ2nuQv1pZf4f90UynsrFUwM/L/U1xnCMb7p+lApSpweg47mlwV69e1KwWGvk8L94nav1PArftoUt4FhjGFX9T61madbPJOkrDEaHPI6nt+v8q2K7KMGldnVh4byYUUhpa2OoxfHa7vBWt+2n3BH/ftqxvCH/Io6L/2Drf8A9FLW94xGfCGtD/qHXH/opqwfCH/IoaJ/2Drf/wBFLXThl7zZy4hbM1KzPE2pT6Vpn2q3t1uJN4UIzYBz75FadI6JIu2RFdfRhkV2M5kcpP4xRtQtrW1tmZWZfOdwcAGSNcqfbc35CpJvGdqLQT2+n3cpL7ACAoz5jIefT5WOfTFdN5ceSfLTJ6naOaBHGF2iNAvTAUYqbS7lXXY5yXxjYRGNXs70tKWCKke45DbecdM9fpUovrTUvH2i6X50atDG15JE5w4OPlUj174raufs8MLSSQqwxtwEBLZPCgd8k9KzNT8PnRbmHxWEkd43NxqNsswCyEKRGRkdVGBwRnFcuMnUhS92zu15aX1ez6f8OEVGUlfZav8AQ9BopkMglhSQAgOoYA+9PrlPRCuO1ktoOt3stqXhg1S2YjAwq3QBww9CRjPr17GuxrH8S3NvJayaWqC5vLhCsUKjcVOOHb+6oIzuPpxzgU0VGVmYWlyeNIrVIY4IJ8qxMksyvg+V8v8AGT98epyGPTAFP1G18Xvd3UyR2twkkSRxxkhQuGkywO7IOPLz659qyvDltH4e1W6SDVvMePZBN/o37uRySxZiGySOQWAwMHI4OO0g1C8lGI7FJiMZeK4Up0z9R1Haop88o3nGz7Xv6fetTWpQlH0PP9YTVtLSLS40LaneNI6NLICkMS7R5nfPJ+761JYaPZ2sDpIv2uWU7pprgBnlPqeMdhwOK0PiBfSRa5oAvrY26+ZNiYHchzHgITjgk4OPb2q7pdhJqBfy3VVUA7jyDRNONkup5lSk/aPT+rFJQFAVQAB0Apai8Rzf2LZ3tw4E/wBljZyEP3sDOPauSk8aeTPb28kEMjFpPtEkW8xxgBsANjBJKn8BxXO5JbmM6kYO0mdlVeCytYJ3nigRZHJLMOpz1rn38UPHBC7Q25d7CK4YCXhZHfaFz6Dkk+1VJvGktu4jltYHYHl43OxlEpRnU4+793HuaXOiXXgup0PiDUJdNtI541ib58OHPO3BJ2j+I8dM/wCFXT4uS88J6bdXmm+dK9ziW3R2LrGu/Mgxg5G0Zz0zXJWnjC8u7hYIdNQvJOsMYYsuSVY7+RyuUJyM8e9d/Y6idP066MMCyXZXMfHBPp1FaU5pvQ3w9aMnoU4tdt2urhz4f3JGqW8BRyMkgKV9CvzHD+natC2uoZJZ/s2mQ29ylkLy2dgSpBBwpA7jJz9ay0vtZu7e5a4luEllu4BFFat5TCJfvYyxCk9SM+3Iqa51Dxbb6raLdQwxwKqq0gAO4kAMWUN8wHLDp1xitro7OZWvczv7esdL1SZ77RZp5LmOP/j2U/6xVIOVPIB8zg85Ga6Tw7dafqF6kEWlyRRQKZLeR5SwONpyAe2JFI/HpiszXb7X59MguLfZFcpfGOKWGEAvGgIdgHbadxztBPT1rQtdZ12PwqupTW+nXFysa741kKNuJwAQAQp5GfQ5pc958lnte9tPv7+R0Om5RUjYu7HR7ZGubiCJBzknOWJJP4nJP51SsNEtLi7jvpbLyIo1CwW7E5wAAGcZ64AAH51kaN4r0W4ee8vZZZbqByrFkwIfYLn5fTPrwTniteTxXp/2e2u4Qz2sylzKwICqGCk4AJPJ57DBJIFXci6j8O5oDRdKBP8AoUXPY5x0I6dup/OgaLpoXaLcgbt+BIww3qOeKx38aad9pCxqzQq5jkfIJDjPAxkHPHOcc1NbeM9DuLhreKaQzIpZkZduME5ySQO3rSMzTOj6YQ4NohDsGOSeoO4Y9OeeKUaRpq7MWcfyHKnn5Tu3cenPNQaBr+n62CbFpThFkO9NvysMqfx5/I1q0AR28MVvEIYUCIM4A9zmpKKKAOF8d2+k3uovLb3yyapaQFp7SKUiRogclgAchlyCKt6BrU95oU2niaeTUIl2wysu3zgVDKQ5+UnGRnPOCeKueJNHuZdVtNS0yNTcmaNZyzbVCLn5jjDN1xjOOelZFxp0mnay1hArL5mbiyCnCuAdzQ57MrfOh7dOmaUJWdpbHJacZuS/4ct/Bk7vhlorbSuYnOD1H7xuKKj+B7O3wo8PtJu3m2JbcuDne2cjt9KK0OtFb4RTLJ4Qkt92WXUtSx9Pt0/8v8K6DVIf+JV85y0RBBHHfFcj8L4FHhaRkn2MdR1JthJGW+3T9D2/Ot+8hXyAFLbD8xYEgE5/iHrWfNHc46024PTuOTEkMXIXnBJ7f55p0Ey2mpfeDpswzL3z0qzpNmslkrXS73JJI3cfpTNStpI2lZFPlEKVCjOCO2Ow+lYTpOHvdh0acrKewadqensBunHmySBAuxj82eO3rWnckCI5AP8As/3vaobHcLZFjUZ/ibt/9c1YSMKdxJZv7xrpjsmzePw2H1BIoWcTHJO3aoH1/wA/lU9Vp5F86NMEjPzdv881USp7HH5i8HeM3llSCDSNdk3NIoWNLe6xyWYnLGQ4AAHbNdc0qRzgbvl3bs9QMg1U8U6DZ+JPDt1ouogmK4jxvH3o2HKuD6g4NZXw/wBVku0udJv2b+1dJC21yJHVnkUf6uY7Rgbxzis4vllyvZ7HfXj9ZoKtH442UvTZS/R/J7s6bdI/+rAVf7zDr+FPbqvrn86dTG3BgwOR0Iz+tWcKQpI3AY5NV7oyNaStx904GMfhUrsRKhwuORyeQMdfzxUd8zraXDfe+U7VA9qcd0TP4WTSqzcfwnIYe1RlGjA2MCo5+YZI+lSfvCuSVVvrkfWnLjaMNu96SZbRGpMic8Op5xUtV7ldv76P5ZeFHo3sfanqZGA3EgnsBnHsTRYlPWxLRSZGcZGfSikUR4QrL5mNm7nPToKJmwgZFLHouB0zSI27cylQu/ncO2Kjlkby9w80E54K9PT9cU3uStiZpFXe2SdpweaY7f6NmRsbcEMDjJ7HmogPMlRgGVR97JG7noTSs8PDrFkhh8zJ0z3oC7exNCdyGQDAI+UH2pICFh8x8KWO45PSiSThGG3YRk7u49qSKJRsaTDyY4LAZH09KYtbjZHZrq32qQu5vmPf5TUkseUVVXGDwc9B3/SoNS83MPk5D7j0+lRm+8oNu2nLDbubjJ6jIob2CK+L+uiL6gKAAMAdqon7X5rBUXzeMMV+XbzySDz9PepZC90AkbmMbQWI6gnpj8M/pVqpLIYY/naaRVEjDBxzgemadDDHCCI12gnJ5pWkUdyfoM04MG6HNMV0LUCr5sEkcyL5ZyvsykVKjq2dp6HBqpeSH7CTHIVkZDsA6kngfqRTQpNJXZJYNizhzj5hwfX0P4jmnXl3DZorzlwrNtyqFscE84+lIJFWRYVbCogJPbHIHP4GiQG4R4XjkWNsruDDoP8AH/OKUtwhtYqHWNNmPlxzyFuCMQP16jqPatCF96nPUEqceoOKcOABVacRK+xFDSu3Qk4B65PpSbSWo7O+g+4m2MIowHmYZC+g9T7VUltvLnjlLkvn5sDAxznA7VZW38ra6/O4OWJ6tRIY2m3mQJ8hXDcd+aIxvqyKmqsWGYKpZiAAMk1V/f3S94IWH/A2H/sv86btlml+zSYMUYBkIGN/ov8AjV2r+EPj9CKGGOEHYME/eYnJP1NNiCzs8joCAcKGGePWpXXchXpmmwY2syjAZiRx+H9KV+o7apdCSo5/9V+K/wAxUlRz/wCq/Ff5iktxy+FklFFFIoKbIxVGYDJAzinUUwKLXa26hWO9y5LH2z1q6CGAI5B6VS1G08wGWMfOOo9ahsbwxxeSylmH3MCsXUam1IwU3CXLLYvxqrIwZQw3twRnvVeS3MN359taxtuTaeQoU5zn/wDVUtgsggPmtly7E+3PSpTscryCVO4YNbqTRSipRRUe5mtgGurdQrEbniOQD7/41aEiuhMTKxxkDNLLGssTRuMqwwRWeumPBMk1rcMSmcJKcqc/Tmk9WHvxfdfiMW5139yJdKtCGcLNsuidi55YZXnjtUsc8hvY5hCi28v7oPu+Y4yQcdMZzTrr7XPEbfyI4y+Pm8zIAyM8Yq1LBHJB5JG1QAF28bcdMVVktxNub93oRSHOpQjssTk/Ulcf1q1WfAC14sV1teVFbkjhh8uGA/OrZhjA/dqI27FRj/8AXTktgptu78/0RLWdrLLsjT+LOauLIQMSKVbuQMisu/fzb0jPyrx/jXNXdo2FWl7hXwFA3ck84oaTeoG4HaeQO1I7bmLetNt9vlyvtB3SY/IY/mDXIupxX1sO25QsSAvqaWI/vl4zkimSvlSWwAB9AKdAVYqyuvtg5yfb1pw3TC+p0KgKoUYwBgYpaz7G+kkuBbzoFcqWUgYzjtj8a0K7lJSV0elCakrojm5Cp3Zh+nOakqIZ+1H5eNg59Of8/lUtUxoyvGH/ACKOtf8AYPuP/RbVg+EP+RQ0T/sHW/8A6KWt7xf/AMijrX/YPuP/AEW1cb4Ss0vPDOgh/P3WdlbETOBlyYVJC+nUDIGe2etdWFWrObFPRGtDrFvexyNpI+3mKXyZNh2qrAc5Ldce2amNtdvc3DyXpWJ1CxJEu0x+pJJOT+Aq2qqowqhR6AYpa679jks+pWe1kZ4GF5cL5XVQRiT/AHuP5Yp1rLKw8u6WOOfk7UfIZQcbh3xU9UpZIZZYbq1WO6dHETNE4YorHnp+Bx6c0A7Jmjo8cdzqE9xLgwWPGCM/vMBs49lx/wB9H0rG0q+bWNP0W3maGaOS/PmNGzFJtiM7cMAfvkeo4/CtzRr6y03w02qXjrCssjySEDJZtxUADqTwABUWm27fbW8R6skdhGFP2a2IA8rfjLv/ANNGwB7DivLxcnKry9jooxvGLXXX7/8AgGt4hmmt9Jmkt5BHN8qoT3JIGB71UtJL7TL2C1vrpbm3nJWOZ8h92AcHt6gVLbOuqaml5GA1nbBlic8iRzwWHsMYz9auatbfa7CSASCIkqwYrkDBB6fhUHaWJpI4YnmldUjRSzMxwAB1JrK8JQGPSzPJG4muJpJGkkHzyLvOxm/4Bt47e1ef+JfiB4Sm0S4eD4gabc3MYEiQbgscu07thABPOMVZl+JnhW3WCeDx3pl1M7BZYpJFWNQQeeBng4rt/s7Gf8+pf+Av/I6fqWI/59y+5no91Z2t0rLcW8cgZCjEryVPBGabpun2emwtDY26QRu5kYKOrHqT7159J8R/Cc67JPiJo8QQZV4Tgu3+0D29h1pyfEvwqA0J+IGh7N2RMTmQj0x0o/s7Gf8APqX/AIC/8ivquKty8krejO+1S0sL23WDUIopYvMVlWTpvByMe+a4LwjdCGzu0tdUdVjv5Ws49p2Sxb/lDDnAPQHI4waafGvwtlhxeeMdOuZidxma4O7Oc8f3R9K2vC/i74f6hLB4e8P6xpM7yKwjtICPmAUluMc8Ak0/qWJhFynSlZeT/wAjGeDxUGpqDSW90yjKyTMzrh0kyeR1BrPmewgzbtaRiMMFOIl2bsZA+uKtLb/YNRvtMzgQS7oQT/yzbkY+nIpslvazO3mRROwI3ZAJB7V5zjGMmpbHlVlK7UTPW50USBRbQKApVW8gAYJwQOPrx7Gn/btIYmMrEcAJgw9uoGMfiBV+50xY9Kkvo7KNwoKooX7xwcD+n41j3QknLD+yGwSMSeXhs7R2/IfhWsKdKfR/ejjqTq097fcy59u0xXU4QbVyriP7oHGB6dT+tOGp21xE62U6STMCIwQcbsHGfapLa1ie1Tz7WISFQXULxnFPW1s4QHEEMYU7s7QMH1qH7JdHc1iq0raqz9bkLXU9vaWtw7QTLM4QMhKNnBJyDkLjBzlu1XLTUrf7bHKzSXAVwW2oWyKyILaV72S7EUVxHvLrkbMnAAIHIOAMZOOtaEV7bsr+Y4gZPvpKQpX/AOt79K0rqDadOP8Aw5rSfstKu/8AX3/fodPL4isZ4mhksLl1fja6LtI9+eK5ay0HUX8cyXv2yO2tJX8tliJdypjDKhJO0qMcccH9bcE2GSaF1ODlWU5GRVXVtS1C31WG8h/1UrKDGvAEoGFP49McVnCmq01F7rVev9dz0qWMjBO60+/5/Lc7i40TSbj/AI+NPt5SfvFoxlucnPrzz9ail8P6X9kNvb2sVtySjJGp8snqVBBAz3xVabUYL/RrXVBdLbRZ2n5SxDt8gAweuSR+NVLGCxm1K3jXXGnuoHyi723YG0svXHRT+BPWumNJtXb/AAMZ4qUJ8i/NFmNIbFhZXWmWM7bC+baNdzL0LGM898HGa0bS30i7hE1va2kiEbciJemMY6cccYqrqnh6zu7p71F2XTKNzEnDleUyeoAYA8YqHTNL1HbLNcXLW90GCJIpDGRVAG58YDbiCemRnGay0aO9xpyjzJ2ZsW1na2rM1tbxQllVTsUDIUYUcdgKNQuPslhcXW3f5MTSbc4zgE4/SorC6mkmktbqNUuIgGJQ5V1OcMO/Y8VbdVdGR1DKwwQRkEelQc7TTszy3TPjLpy28417TWs7mGOObFpN9oiZHSJwA5CncPNUFccYp+pfGjQ7e21L7NpOqyXFnBLJGssQSOVkjeQDfk43CJ+cfw/Suk1K18Badbw6ZJoujOIZTJDYwWEchSQ9WWNV4J7nimeRYTKzD4eqyyDnzLe3UsCpXkE+jMPoxHc1HMtrkupA5tPjFY29hbXuqabcWsYhuPtYVC586LyQUiA+8MzAZOPbvVi58b6Z4mkK6Wt7ZXmm28GpL9sh8ncjgcAHno208cE4rXk0+/vd8Mfg3Qre2YSLi7jRgQ+N4IUfxbVzxzgdcVVTwp5OrQqq6alztRiljp6QKqpwgdxyyLgbV9qlTc7pL8LB8fupFr4HSGb4T+H5iCDJbF8Htl2NFP8AgqrL8LtCVm3MsLAnGMne3NFdAyl8LrGObwbvZiGOpajgjt/p09dDBbv5T2kx27zuU564OD+mKyPhP/yJaf8AYR1H/wBLp607x5DqaZJwkgxg9jx/Mj8qxkox1tuYzjGLvbcs6UWiMtm5y0Tce4Pf/PvVm4uI4Rhjlj91e7HpgVXvk8m4jvlOApCyD/ZJ6/rS6gdk1vNtDKGKnPbPetZPTmJi3CLj2/IiE8lnHLH5YbYw25PAzzj1q/FuMaljkkZ6VlajuOoNCpOG2t+PStaNdqKuc4GM1jTk22uiNE25sdUJVZdocbhyRkYxyKcA/wA27leenWmEAyKYyeRxjpWyLZKzKM7iAK4nx9Y6paanp/i3w+376wDC9tSxVLm2ON+QB95R8wOM8Y9q7WQZAx6jtUUbgyM5YEbtoHYYz/n8qmUeZM3w+IeHqKSV+67rqvn/AMEj029t9V0qC/sZi8FwiyRvgqSDzyDyPcVYyzEcYweTXCRfavBXjOO1WEDwrqu+QOoOLG6yWZpGPRHz3wAcAe/c3DZXZ2b7x9FpU5c2j3NMZQVFqUHeMtV/k/NbP79iHfmdpmBCKNqg9TnBzz0HFS3mfs0p7bDQtrCq/Iig5zkik1FitjKRnO3HAz1rVbo4ZX5HcmbDhlOcZxRt2oVTC8cUkW7GWJ5HQ9qWMALtHY81BoMQFiCwPGDyehxSBHw6h8Eknp0zT2Ozc55XHQDmsy61G6SzSay0y4vQSQyq4R+nbfjvxzRfoFi/8qkOwIkwOp/QVJneqkAbSOQw5xWL9v1V42/4p27Eixs0e+eLG4LkKSDnk8Zq/YXs80ZN5YyWT7iqI7Biw9crkUwLEXzmRWQ43dxxSDgeRul3bSd+KI1cvP8AwZbAIOT061IQqBpPzOfSh7iWxHbeW37xDkuoJ/z+dEqv5TLIxcdcjjv0qNBtX7sscmDyBkZPsDj86kVGYhG3lRyxc/e/Km1qSpaeYBRvjEijP8CgcLikvVOEZTtIPDZAxUvmLsZxuIUkHjrikmjEkZXjP8JIzg+tK5SVjHuhfhk+xXZlnlz5f2hMIpwfTn/9dU9MtdcBktbtNM3xKHh5dwG7Hnt1/Ot4QrHPbn70hyGcjlsKanEaCUy4+YjBPtRayQk9X/XRFfSoJ4LbFyyNMWOdhJUDJ2gZ/wBnGfepiWkYhG2qvBOOpp6srA7ecEg8UqgKMKMCgbQ1V2Iqx4UA8/TvTMozpKh5Y7fr1p8ys0TqpwxU4+tRh1JiVWVirYbHY4NCE9h7mOEPM3HA3HP5VBcRebbrKg/eKAVycZGQSP0q3TY/uCmnYGr6EFusUithVZGVSoPPGM8+vJNWazoJEgBdSWJkZUjA+ZlB7D2JNWFmudwaS22x7iOGywHY4H8qqUdTOFRW1JZ5PKiLbdx6KPU9hUUVrjMju3msQzsp79h9KZFKl1dgo3yRDoQQd3ToeeKuVkr3ubaNETFovmZt0fcngr71SuXt7q+gjwkka/MzHp3wPzwfwFS3N1DNA8UMgZyQu0KSfvYOR6dasPGrSbegAGMD61svd1ZhL39E9Bt3M0SbYtjTt/q0dsbvX9Kxjrl9FNDBc2ljFO7KDF9sy2T1A+Xnk4rYMUcMkRjjUZYr06cE/wBKn2rnO0Z9cVmbJ3K9nNdPZCa8tlt5sEmJZN2PTmnR7oIkBJdAAM9x/jTpQHkSNunLEeuMf41LT6CtdiA5GRyKZP8A6r8V/mKbbs2+SIqcRkBWPcEU6f8A1X4r/MUWsxN3iySiiipLCiiigAqnFbpDcvIoLt/Co6Ln1NXKKTSe5Mop2K8KM6t5jEDc3yqSO579acVWJ0ZRhcbT/T9f506D7rf77fzouDiB2/ujd+XNaN6kpJRuSUUg6UMwUc+uKk0EZQxUnqpyKdRUbFmfYrFQPvHH6CgT0K17G7XcE0OPNRHwDwGGV+U1ZglWaJZFyAex6g9xUJzHfRKzEqyPgk98rxTStwly0UQwkjb/ADCNwXjkYz68/iatq6SMU+WTf9bIsyv5cTOewzWDnhnPUmtG5m3WkkM8kUcqsFOWADemM+tZ7RuAsewmTccKOp6VyV4SbSSMq8uZqwwfh+NS2thJJJKsF5EYtwLELnBPJ/nVmDTWdP8ASJDHuGNiYz+J/wAKvKu2OXYgyzdAMdgKulRUU+bciFBvWSKVvptnJEzOkkgycb5DyOmcA4xVv7BZ7FVbeNAv3Sg2lfoRyKmVQkW0dAKcelb8zWx0xowS2RSltGikW6hdpHjU/K/O7157GrkbLIiuvRhkVGZo9hLbkXBwSOo9qZbMY7KEN9/YAB6mhq6HHli9CYf65hn+EcfnT6ZGu0HJyx6mn1LNEZHjORU8IazuP/MPuMD1/dNWF4NUJ4O0NVGANNtgP+/S1t+K/m8K66/HGn3Cj2xG1YvhD/kUNE/7B1v/AOilrqw27ObEapD7zWtPtdQOnyyt9qEay+WqEnYSRu47ZU/p60NqVtdvNZ2V3EJ9yRb9wwpcAhh64BzTNS0DTNQvGvLmFjOyJGXViDsUsQv0yxz68elJoHhfRY/EKCOzKvDaRmKVZCGj8shVH5Dr9fWt5SlFOXY57RlaN9zYis9EinSK61N7pQuQJphsyCM5xjJ9jmm+IIIZJ4poVjNndRNbvJER97Py9P8AgQz61OPB+hDZm3kbYwI3Ssei7QOewHSuX8UNNZqljo1xF/YvmB3ERWX995jSOrdXBJChQvqa4o4manFyu7tLTXd2v8t2dNXDRVKTgtlf7vP8CDSL6UeLdNs2t3uoZIJPsbXXypDKrYYnHVjgkfXtXXXyPcXcdhqGtWscxxMsEcYBwpznJJPY81xniO4v7W3tNet8yrb3izIfKJ8qBgN29R8xI9ua6ewt08QaGdc+3T6fHqNtm5SNRtYLkK3zjcvHbjtnvmcQ0sQ4W1avs7dt9r+W5GCfuP8Ar+kdNHcWg3ok0I8s4YBgMHAP8mB/GluZY/s837xPlU556cVykXgrSJkErXs06vBCqlyD8iBcEfXaM1WvvC+mx2dwRqckcFnFO9zKHO8sQHBYYwQq9D1wSKlJ3OxNXWp5/wDsz+DPDesfD2DVdb0DSb+fzpY4mmtkkYqGPLZHJzkDOcBRjHNeq/8ACv8AwJ/0Jfh3/wAFsP8A8TXDfsq2MK/DCx1FcrK0lzG2P4h5vGfpjj6mvSvF19f6b4Y1K/0uxe/voLd3t7dFJMj4+UYHJ5r2c8xlenj69ptJSl1fc9nHVK88fOnCb1k0tbLf8DO/4V/4E/6Evw7/AOC2H/4mj/hX/gT/AKEvw7/4LYf/AImvIvhz8XNe03WtRtPiJcX8kUFujSkaSUNnNnlH2D7u3ByRzXvdhd21/ZQ3tnMk9vMgeORDkMp6GvFw+bVa6vGpL0u7/mbZxlmY5TUUK8m09pJvlel9G7GD/wAK/wDAn/Ql+Hf/AAWw/wDxNeeavomjaH+0n4Kh0XSbDTYpNPu2dLS3WIMfLl5IUDJr0rxVr8miS2oFqJo5shn3Y2HzIkXt0Jk/DAryXxV4qs5vjn4L16O1vPJWxu4o4miKySttkVQqnnkkV7eV4mtOdSM5tr2dTdv+VnLgK9WcpqUm1yT6/wB1nq/jPS/tFuuqWy5u7MFtv/PWP+JPy6e9Znh/TdKhmhuIUmmiuY1lYhSUXeTtBOfXPQfWrFp41t7mAf8AEtuDKyL+6V0Y7ioYjrwAGHJ75Hasq0kuzoDyaWC81tdeYiCLdIInAdfcD735Yry6SVRcrPAxUVFKra7R1HihNmmxJGu1BIOAOBwa5wxuIhKVIQnAPqa6nTI5LzQkW7ZszLn5uWAPPPvWDqUb6k8Eekpi2wY1mJxux94qOv41xyi3qaOm5+8tjKeWR5mit9mU++zcgH0471mXtxN/aH2ECSacRpIrGMmMbmI6DuME89ga7ZPD8tmEaxkTKjO1h1Pf6596j1iwnKpdC0CMUHnbMYB+lG3QqMvZ3tH+v66HN6VFfRJIL2RXJIIwxPOOfoM9B2q08cchDSRoxHQsoOKfRUXd7nNOXO7tFSa1ZJkuLO3LSA/vEiXl0wc4Hcjg/nTruKK9gms5FYMycqykEehwa6TwvZ7pvtjFSFyoHcGtHWrezvYTBJdJBcL/AKuQMNyH+o9R3raGqV3r3FGi4rmj9xxEaaholmmphheaaZB9rtZBlopM4JH88+4471tXdz9kuheaXZmaBLTzrVIYGcTuQcqXGdmBjip49I09r2ayuJZrgXiBhcee252Awytzg/3gvT24rL1LRdS8PtHd6XfzqhLeYI4SYwf4d0YzweckAAda9BtVlZStL8/+D+ZbXsHecfd0s97eXey+drM1J9e1cTTWw0mVCpZVnETsoIDYGMck4Bz0+YZqhbeJPE81vZp/wj81vMXgW4eaMsArEB2G30z+H0ot9bvLidNYE0pjiURS2QcbBISM7Qoy5IztHPPcCuvuryC3smu3YmMAfd5JJOAB75OK45wcXZnfKFoxkndM4q31XX7n7Ilxo17HeLGVluUyn/LIyHI2kEMwwB2PWs1LfUvGEaW1vd3O2CSdbqedpFjGWIQIBtywA69s11HirXY4/sekR3lrYXmoEo32mRQ0KbTk7c9T0HbJqx4a1jQfIh0vT7uILEkaw7mC+dlc/KOpPr71zVqarRdOW3Xp+K1IVWd7LoaWkaVY6XbJDaW0UZVQC4X5mPck9STV2q+pXSWNhNeSK7JEhZggycetcvo7XV9dLfQ3Wbu6jJ3CMqscfTfg4LL/AHQwPOSDit4x0NKdDmi5bJHQXVzPcXL2VidjJjzpyMiPPYerfypnmWOkxytmWR/vSux3O2PU/wBKq6brGkw6bG0LyLD8vzyDDMzZ5OeSSRz9aV5LHU4mnt5Edd/lyoGBPXHOOmRz9Kly7GTqx2i9DK+Cr+Z8LtCkwRuhZsHqMyNRSfBFQnwq0BB0W3ZR+DtRWgEPwmmX/hCwGVlI1PUh90nI+3T81rai8f25GO7GVP3T2b6Vm/Cf/kS0/wCwjqP/AKXT1uatGDAs2MmNskYzkZ6VE1dGVSMmhZbiOawn81WUYYEbT0x9KrW8n2mOyjm3gqm+T5COegp7Tm+AtI12o2N7j07j+XPvVpP3U8wVSx8tSi9MgAjA/wA96pW5PUxV6kr302/X+vUzdSmjF+zhzuUIFXYcmtWK6ieNGywLDIG01g3d7dSXDXWm6eb+QBT5JlEfPTGSO3rV211DWHlCzaAYULMA32pW4BGDjHcFj7bcd6xpWbbN1Gam2/6/E0XaIg8sfUbW5qrf3Agg/dyOHPAOwn+laAAHQAVVvkkmdIEJVSCXbbnj0rWWzsFTm5dH/X3lC11SQybJHZgynB8s5HvWlujMKKM4AGPlb/CqElm0S3EmSQiHbn+LirNvM7Q20C/eZMu2eVFZ0m0rSMacpp2kLqdrYalp8ljfQJcW8gAZJIiynByDgjsQDXH+E9fuNM8TP4O14zyO0O/S7+UZN7GvLBsAAOpPQDGMfj2y20K5Khsn+87EfkTWd4l0OPWtMNu8pjnjYS28oJHlyr908EErnGVzzirmusdz08JWVnSr/C//ACV9JL9V1XnZrQeSNTnzHzg4BU4/lUdzIptZW3H7pxhD0xWB4O8UG91C58M6wHg1+wUeaJECC7TGPPjAJG0ntniukuRtspBx9w9KqnKMrNGGLw9Wg3Cfb710a8mSGaPPVv8Avg/4Unmx+/8A3wf8KkPWijQj3u5WNxF5m7LnHAGw/ielLcTxbCu5t3XG0561PgZzjmk2LnO0Z9cUaC94i+0L52znG3Odp/wpJ7qOMK25hzz8p5H5VNJjy23EAY5JrH1O+DuqR8Lu25z94H/IqZTjHczq1HCN7lT7T5ysJpZyd2T1x/SnwzJbzrMd0sROGGGz9cVGrAbjnjd/hU7j5ducleT+NcvtZXucEebe5sx3MMiB43LKehCn/ClE8RJAYkjr8p4/Ss3TLny5PKb7jHj2NayqAT7nJrphOM1c9CnNzjcZ5sfq3/fB/wAKo6tc6lGgbS7e3uG2nKzMyfN25APFW45ZGgMksYgI6hjkCpgQQCOQelXoX73cyvP1E6pb+clqLbnJXfvzs6dMdc/hVvzF8uUOZ2U8AbCTj24okZY7iFN25su2O+MGpGn+WQrtIUZUhs7j6fWqdtCY813/AF0QkLqNzOu1jxgK3QdKk86P1b/vg/4UiOoUs0vBP8RAwfSkinV92fkwxAz396VvId33FaZApI3E+m0/4VXt/KW7nl+YM4UsNp4OPp9KeftjMPLuLXGOnlMT/wChU+OOVVZpJhuOT8i4H6k0KwNS/r/hx/nR+rf98H/CmxzR7By3/fB/wqVegpI/uCjSw/evuQQraxSPJGpVn+8drc0txdJGny7mduEGw8n8qsVSRjN5l0rgFSUXjOAPT61Mnd2Ek4r+v8yv81nIs/M5YbXAjIbk5JHr9Pap2uJnR5BmBAPlUxEucfoPpVmGIJhiWZ8ckmpD0q04pJJEKnLXUhhMUSbQzkkliShySe/Sl86Pzjy33R/AfX6Utru8hVc5dRtY+pHenf8ALU/7o/nRpdlJOyI5pUwpDNww/gP09Pen+dH6t/3wf8KJeZI17ZJPHp/n9KkpaDXNdkCzI0rNlsAbfunr37fSn+dH6t/3wf8ACljXbu5zliafQ7AlIrCWNblmO4b1AB2HnGadPNH5XVuo/gPqPapJl3RkAZPUfXtTblgsJYnABBP5imrXRLUkmD3ESgZLcnAAQ8/pS+dH6t/3wf8ACiJSSJH+8R0/uj0qSk7FrmI/Oj9W/wC+D/hR50fq3/fB/wAKkopaB73crC7QMfMR41zhWIOD/hUvnR+rf98H/Cn1C37l02nCMxDAngcZz+n609GT7y6jEuI1Rsbi29sDafU+1PuJI2hZTuIIwQEPTvTY2RZCzMP4v/QqsU3ZMUbuNrkazxMoKsSO3yn/AAps0sewNuKlTkHYf8KWZXRXlgTfJjOzdgOf6fWofOuZJo4TaY6NKfMGE54+v/1qaS3CUmtH+TJpLiNELfMT2AQ5J9KI3RUwWYnqTsPX8qcqHdvdtzdvQfSnOwRSzdKnQr3t2VriaHz4/MJ27Hz8h9V9qILi3kAKyyg+hyazNQumlvEA4UKw4P8Au0Qs8bMWyFUjKkdT6c96zdaN0ktDk9s+d/10L081juYsqyvtKM7oTgHsTj9BVBpI4yZLVmCdyqEHPvTZZC7dNqjoo7UsW5fn3bRjv39qxqV+f3VsRKbkwlvpJAm52ypyCFOai0pNakjCy6+7bDy32Jct7VMVVwWj4I/hz+ta+nx+XaJ6sNx/Gii25GlD2jluR200iQGO4Z5HTjzTHjzPfA6U8MhIWWRmPXGwgVLLIqhlBy+M7R1qOWSZZIAtuGDn94TIB5fHb1rrR0tlbU7iNjFa7iolY7mKkAKBk9uvpVmOWLznxnAVcfKenPtTjHFKrLJslDHJBGfpUOlL5du8XP7uRkBJySAeP0xVacpmlL2mvUsedH6t/wB8H/Cmy3EaISNxPQDaeT+VTVGwLTKP4VG76moVjV83cyfFbxr4P1lcsT/Z9wSdh5Plt7VjeEP+RR0T/sHW/wD6KWt7xf8A8ijrX/YPuP8A0W1c/wCCo1i8GaFGpYhdNtgCxyf9Uvc104fdmGITSRrVb8Mc3uosRkh41B9BsBx+ZNVKu+GZF+0X0JJEm9XAJ6qVHI/Hg+9bVv4b/rqYU/4kf66M2z0rzm48lU32jxrH/aUADRBd5YmTcWIPOc457Z716NWJr2hxXWnNFYQW8MgYyKoQKrPg4Jx3BOQfWuKjNRmmz1Ob91OHVoouquhR1DKwwQehFZvgyaJdD13Q7iV0S0eU5YEsImyenfv9c0i63Zw7otTkSwukO2SKY4Ix/EP9n36VQ06SG68fTwR4mtZrcQTshyvOCB6Zyv5ZrqrNWTvs1/X6/I8jlkqiSWruvw/4B0KWdjfQi9k1Jbfy9mUkjEewqAQrAnOwqpyueck59LVpp+jrPdmK6t7maa3k3xqynMbnceB/DjaB7YpY/DMCzuUmeGIIEgSI42DcWP8APb9BU1hoNjpaeZbmUtHDJGu9s8MQT/6CB9KUqsWrKTLo0aimm4L1ucJ+yt/yRvT/APr5uP8A0Ya9F8R3d7YaDfXum2B1C8ggaSC1DbTM4HC57Zrzj9lSRG+D1kqurMl1OHAPKneTg/gQa9WrbPlfMcR/il+Z9HmMlHH1JNXSk9O+ux80aj4s8U6HfeMPEHiPw9/YD69p8f2OG7gNzDJLEFTYcYA3Jnhu5717f8JtJbRfhxoWnuwaRbRZHIGBuf5zx25aundVZdrKGHoRmsvxNqk+k2cE1vp8960s6w7IV3MoIPzbe+MdMj614FHDOlJycr/8F3f9WO/N+IIY3DKlGiqdmm7O6fLHlilfXRd27md47fWo0tW0WCe4n/eARoilC2BtLseig9uM+owK8i8Tah4iPx78KzDRIjeQWNwbaBo/KEwMblm+8cHkn2PHPWvUrTVNQ0u8nm1S9F5LcgLFp8QBmEgOBtUfdUrgnJ789OeD8WPrtx+0N4LZ4bOxu20668oFzKEGyTO7GMnHpxXvZPNOrU/691P/AEhnlZZUTnPT7E//AElnYyal4udb9bbw/b2skcbGKZrXO7arEKBv+bLYwcjr0qfxddeH4tEm1hbqBbxFRPMguDGQ2QOQpP3ck4IOADWtNoV/fKIdW1uW5tc5eGKEQiT2Yjkj2q3PY6XpcLahb6RE0tvHhRBCok2+i9K8luo01B8r7nFFyk0rfecJpfiQapoVpczyXk7RFkvJoEbylUFgrE8HB4P0NdJ4ahadw0MuEiAKYOVAPUj8P50trAbp5p9PtZYBOI7ny5GMZGWIYbQdpyFzz61DZn+wdVea3txDps9wLe5hD7lt5SAVdfRTuAI7Gm6coxTlK/fp8zGpzU6nJLY7CkYhVLNwAOaWiqNzkdWgh+0NJaLMyMSTmMhQfY1ShjkmkEcalmOeBXUX1rdzzy7L7yYCoBXr25+lUbFYLNMBBJNyGk9j6Vk46nNKGpb8LKBpzN3aQ5/SsnxC5XWJSpAO0D9K3NDtXtrR0Zgys5ZCPT1rFjs21C9nVrxfOViAGXlgO9NrRIqSfKkZdpc2/wBqdFukS5gxIiHqxB6D8M13w6V51Yaeset6l5l4txMriJY0cMsQZ0HPGVY4PGT3r0WtOXlSOydH2UIx/rocHf6dHo/iaG3jYixuYXaRUYqyRqw5yP7pYc+mc9K1vEN9YaHZWum/ZLf+zmiLMDMVKqHjHy8Hcfn3dR0rS14pGtrdqwMizpGi5BDh2CsMd+CT+FcDrbeINQ13+y9JtzNoUV0kaDyyRLhv3qNKPuIoxjg55HarxeItCM5Jtuy0V9b2vp6q76bnNQ91OjF7O6XS1v8AO5WstW8N63raa9fQXYigDQ2UbOWd8qXaRjnuI+3TjNathrXhe1vzenTCjxzR20DKd8jHlQMZxgMMAj2NdlCzLcR2V9Z20SyIwhaFiV916Ag4OePQ+lRateaL4b0pTMsMESAiGPaSWI57ZPuTWTtBXkzZU2nbuPj1b7fbW/8AZqJJJcRiQ7+UiQ92x+Ix35rPmurfTJbuxlSR1+zh7m7jG3ZuyqooA4wAMDPGRWzo9stvaB9weSbEkjjuSO3sBwPanSabZyTzTNEwkmx5hWRl3YGBkA+gFVK+yFUbtywOetk0CS9kSNb23kim2qxyBuzFgr7ZC/8Aj3vUMWoaHZCFbOSYQsyq7MpIQqRGNzduR+tdE2iaUxBayjOOgycD8Ko6tpFj5EFpHD5cLTpJIBzvKvvAJPP3jmspJ2OaUJJX0Mv4Isr/AAq0B0OVa3ZlPqC7Yopfgr/yS7Q/+uLf+jGoroR0FH4XahbxeEkhYS5GpaiCQh2j/Tp+9bl9qkL7oEOUJwXIOOvTPQVy3w6b/ikto76lqO7/AMDp+K3sAqVIBHPHauSdZ6o4KlWd3FMdp09xbTrHGnmbuCOBnsP6VqG5jmkjP+pmR+VcYyDwcetZlqI4cLtCRd9o6e4+laNzbi8jKttFwoyjjow7GtqdRSSQ4c3LeL+RNLD5MpuYR2w6ADBHt71ZRldA6kFSMgioNOuGuLYM6lZFO1wexFLafLLcRqMIHGB7kZNO3LL1O2MlON0TSNtjZsZwCcUfxj6GmbmkOFXavct3+gp5+968GrFci1AFrGcDgmNv5VhW7PEAyyMWIHzZ68VpTaiTbtusbyLcnV0G1SR35/pWVYyee6xvHLDx8zSAAD8c1jXpz0scVecZTVjbtLhp4kUORJ/EduRUscryR/IBnoWIwM5x+NV4SkaZWaNYguFY/eJzyauoFCAL93HFax0ik9zqhdrcwvFHh2PVYEuLWVrXVbc77a7Rtr5B3eWzAZ8skDIql4b8VRaut9o97iDXdPXZfW+woCcf6yMHkxk9DXVnocDJrmPGfhuDWI11S0kNhrNqn7m8hAEm0HJiYkH5Gxg//rBlpqSlE9GlVp1KToVnZdH/ACvz7rv238n1B60lcx4U8VJqeozaHqgWy8QWcYN1aYIR84+eIsMunbNdOucDdjPtTjJSV0Y16FShPkqKz/TuvJiLtB2qPy6UOQFJZto9fSl4GegqOXl4iTlS3T1ODiqRg3ZGdq0j4WNdyhuWdupHoB2FZmwebu+ZmBAyT2q/qDebdv2VeM/Sqe7ChmBAHO4nr+VcNSTlJnn1dZNsaFZrgAFgQ+RgcdO9Sx7gRk5Pc+tNhkbeT9nP3u70u11dgzKRngAdPxqZKxknoOK/vCq884FbVjN50AOclTtPvWNLIikMT8zAfh2qxpk/lT7W+6/H0NXSlyyOijLlkaVyvmBVC7mDAkBsHFMZnikSNGBBfBzyT0/LirGxfM8zHzYxn2pGUZLqgL/lXYdxHKq/aoGwN2WGcc4wakMcZOTGpPHb06VXLyfardZQAWLYA6AbfWrdU9kTHd/10RXDJ9rZWWIHbnOctgdz6U1wnkGTDKNpAUN1yevpmpXiSRwTghTkrgcnHf8AOq13HFGu5mL5cZUnJ544H9Klt2CTsrhplrDC0ssYO52JJzkc88e1WLqWOOFt7AEggAnrUGnhok8hZFcDJGSMgemBUf2G482SQzo+85+YEY9hVQSvqZSnPkXKrsvoy7AwYFcdQeKjjkZlHlrkf3jwP/r022tViQBiXOc89AfYVKGVItzEBQMkntQ7I0jzO19CtfNMItgkVWfI4Xt3qeCIJBHGf4cHr3qBF82QXDAjeQqKf7oOc/jVyojr7xVtQpDS1DdMgVY3I+c9D6DmqSuDdkFoxeMyMjIzHkNTz/rT3+WlRgR8qkAeoxSf8tT/ALo/nT6iS0Q1fkUyysF+p4UelVJda0iNHd9StVVBliZBwP8AJH51ZkgtxMbp0G8LjcT2+lV0sbWSQ77SAJjJXyx1PY+vAH6UlruDaWiEi1XTFWTdqFruQb5P3gwoOMfzH51btbiC6gW4tpkmifO10OQcHHX6ioYrKyVpUjs7dUbHmARj5j7/AIAVYiWOMeVGqoq/wqMAUMaHE4BNV7ht8UWcqGZSRU742kkZx2xUF6nmxKhO35gxweeopx3RNT4WWaheZSr+WQzKcEfjUdzcPbqAV3sxwhUfzpy267MhmViM5DdDUNu9kDk27IlEg2sx4UHg+tMtlmAYyMCGOQO49qbaDbuXOSMZBPIOKdFkGWRpAUJ+XnoBSTvZgnezJqQ9PWkRgyhl6EZFDsFUsegGaosq20cMitJHgYkbay9OvpVlH+bY3D/z9xUEDx29ozzOsSKzFixAC8mnSTWrKA1xEARuU7wPxFXJ62M6cbRTIrnTbe4vUu2luklUqcR3DIrYzjKg4PU1RtvD9n9mVPtGoiPGFUXsn3egB554NaEl1HHGxlvLVFAyXMgGF9TU0csPlAxyoygDBVs8dqRRXs7ODTkPlSXLqeAss7SY+m48VTvJ2mbCsuPQGl1G48x9qn2I9B6VWUYG9hkZ4HrXNUqXfKvmctarzPlRGcpcRt32tj9OaejYPPzA9eajfL3UfqQ39KlCDBAkViDjnjPf/P0rFu8dDlje7/rohzKseD9/PQ9qjZixyTmnqrjjAYHsCDQ8TKu7B2+46Vm0y2mNjyZFAznI6V0PRcDrjisOwXddxj3z+VbtdOHWjZ1YZaNlSXdCh+cMTktkDNRxq00gZYggA5zkBvTirjjCuy43Ed6b5ylfl5fps7g12J6FuKvqyrcyXH2uO1hQKxXc8gGQqdPzzVuCJIYhGmcDuepPcmoY3/4mLxswZvJDccYG48VapSeyHTWrkFRqczNjkAAfjzSyttTjqSAKVFCqFFT0NOpmeMP+RR1r/sH3H/otqwfCH/IoaJ/2Drf/ANFLW94w/wCRR1r/ALB9x/6LasHwh/yKGif9g63/APRS104bdnPidkUviBqt9o/h/wC3afJCkizKGEiFiyc5VeCNx7Z47VzuneONaiv5ri401I2spJ/MIR1PleaI0Rl6ZIKuTkAYzXogJB4JFNly0TJjeCpG0ng8dK6XFt7nNdW2OasfiVrN5MVj8LOiP5awl3cHcy2pO75eAPtJGR/zzP4Sx/EjU5NWbT4vDckgW6jhFw0nlRndnj5ujZVuP0FdrpWoWkehWk9xeRquxUZ5WC/OBgg575Bp/iG+urHSzdWVqbuTei7EIyQxAyM8d+/HrXmOLUnE9Ol+95bdTirq01LxJbWHiIC102a+U2UsU0TSbIt77T2+bJPB45HpVyy8ARaZZw2unvCBBGqx3G6SO4BUYBLA7Sf+A1csYLu8t5oFuZruW6jVZpZCSkBDMQwI+XdhgNq8ZWui0meaaGSO42tLBKYmYcB8AfNjtkGuaOBoU6s60YrmnbmfeysvuN69P3VFu9jm9I8UXGn6iND8VxraXX/LC73furgdvmwAG9enPYUzUF8W5ll0+N7rM5YB7iMRtGd4woHOACp55yB7muq1LT7HUrVrXULWG5gbqkihhXMweGNa0R3j8La1FDZO242t/E06oe+xgwYD2JNbK8TkV4+aPKvB3hP43eDdCi0TRB4YEKSNMA0hMknIJBPGRlsfh9M7qXP7QbKzBfCGF+/833TnkHnt1rp7bVPEUWrXcuonTUmVfIjnCStGFBJICLk7icE5I/hHY1FpPg+5tNMF1Jr39oWTRI0kEMXkJPGoJyxySx556Zr2MTnOKlVU5YeD5r3bit9/nc9FZz9ZlJ8kHJ/3fzOPHiH45TSFbGTwxqADbS9taTsn4MVAI9xWjPYftB6haqG1TwpYZ6hN4f8AEhGx+Br2C28oW8fkKqxbRsCjAAxxUlQs0l1pU/8AwFAsdL7VOH/gJ43peg/HDTYwtnN4DRsYaTZMXf3ZtmSam8P+DviTefFPRPF3jG78OyQ6ZBNCFsGkDEOjgcMuDyw7jivXq5PxTN4vj1kQ6MqtZSoo8zy1JiYnbnnqB941azecYyjCnCN01pGzs1ZlLMJRi4whFXTWito9DrKyvFiXMmgXKWlq91KQD5aFQSAQTjcCD06YNc2vibxLJdC0h0hDcQxGSaE5LdCFUsMKCx2nI6Z5q/LrfiZZQkXh/wA5CrES8qDwdnB5GSpyO25a8lOzOKEuSSl2NDw19+XMSwkQw5QR+XgkFvu4GOuOg5BrP8fQ2/2NE2yRSXkixPOHKoqgg5YdCfTI9fSq2oeJJNI1m3k1S0dZJt0UwixtSISYWbJI4y2McnGTSPE2pRLd36iWd13IrjKwkjgKPb16mt8K6dWclzbaNeq6/mcuYybSstZfpuaYin8QeE7CRZESR1jldXXcjkDlWHcZ5+oFY+qWGqWk0LXXiSKF2ZLa3SMOP3jhlU7FPfI4xj5c8VZ+HF5Jbpc+HLrPm2OHiJ/ijYn+RyK0rzwppl3rcerSvc+fHcrcqocbQ6qF9M4wo4z9MVhZrR7ouhUU4KRz11p9xeXrRWviV4pZYn3h1dVcxmJCQ3T5SSODk7u+Kqz6brS6kYU8Swsyq6ouOT8xyxUHkjIGOnFdNeeDdEuApdZY9rSuxVgN5kkV2LZHPKAfSsK60/SdBd7uykEcxWRYBcSKBKx5AJxnr7/Ws52SHNo63wys0OiQQXNx588S7Xc9zWJO08WtiZoWjcy7gp7jNVPBMup6oJ11JnjaIhkUJ5Zk4HJGSMA5HuBmu2EatseRUaRR97HT1xUUp+2pxmrq/fR/NdBSi5adihrdtEtlPdRQxrONjlwoDHawPJ/OsDxffSw6mi3l/Db6ZtiljWORvOkIbLDYvLqQNvOAM55rofEOpW+maXLcTkElSsSFSxkcg4UAdc1ytrYi10WxtoR52p6sEM0zANsTglR6KBkAegNbWc2oIqo+ePL2/r/hg0PTb7VLGK2tpbnTtNtZZER5SftLKeqLnOxcHA5Jrs9Ps7awtI7S0hWKGMYVR/nrWFpckk+rQw2MlwLO3jLNI+T5zMxyT0ycg9u/aukrSpS9m0rnPhbOLaRXv7VLy38pmZGBDI6/eRh0IrkPF2jWbzwyXd1cyXLeY7ssjIGO0EAqD93C7ce/rXUahqSWofC7tiksc9K5fUbtxBc6xfQkqsOEiDDOD19gTwKycVUXs2rp9H1O2OI9jFyb0RavdJ1ma8mvdKe3tw9qi27ichl+XBTG0gDuDzz2qlH4e8XxXxu4dXhSZrZomcvkM+5juK7MZ5HIxg9iOK6bw/d77SO0m+S4ijXg/wAaY4ZfUfyNZXjXUNRtpkht54Le0aIs87SmNkkDAgZ7gjgjrjPNXbWxUYXla5lXmj+MrhVjm8S+SsaLvMVwqtu2MM8RdywJ9doxtq9o+meIH1K1muNVjls4osSRbwzM+AMsdgJPHXj6HPGJpDWw1KVrG7kLSA5muM7CM5wueXI4HJ4H1rrNLj1ZX2rLZFGAzICS3/fPr+NEoNOzRnLkk7RkmjO+Cwx8L9DB6iF//RjUUfBcEfDDRAzbiInycdT5jc0VQjB+HX/IrD/sI6j/AOl09dEis2dozXPfDs/8UoBj/mI6j/6XT10UQYk7Tjrk+ledL4mebP42Gw46r9M05J3tyu7JVTlTn7vr+H8qU7GQIp5BzkjrUVJPl2BPl2NGC8hF+WJ2rMgznoGH+ev0q1cHyZ4584Rvkf09jWJApSZOFYFvkDevpWnNpxIUwTPHtJYRk5XPpj09q7YS9otdzopTmr6XLZuIvP8AJ3fN/X0qT+MfQ1hy28ivI33JVG5k7MPVatW2obYcOCzqOPcVPtHGTjNWLVXvsJrkyh44WYAAbsZ6n6VmBTI251wo+6p7+5p/mSSzTPI247+PYY6VPDbTS/cQ49TwK56knOWhxybqSbIa6CAqYE2kEbRyKpQ6ao5mfPstT3l5Z6ekX2mQQrK/lx/KcFsZxx06GtqNOUb3OuhTlG9y1UN2ALaYgDJQ5qnDrmlTNIqXiZjO1wVIwefUexpL3UoZLfy7PFy0kYbK9FU/xH0roTs0bTXusq+LPDNprvlXKyPZapbZ+yX8GBNDk8gEg8HoeD1rN0TxayaxH4Y8Txpp2uOm6Ipn7PdDJ/1Tn7zAYyOvNdaQ29ueCazvEOiWGvWP2W/h+ZSWhmXAkgfBG9G/hbnrWTi780dz0KOJhKPscQrx6PrH07ruvuszRHAPY+5qtezLbxrhgHwdqj+dcRL4mu/A9zDpni2R7uwmYraaqqfLGBgIk/JO48kv0P8ALcMj3lx9o35R8Ffp7e3P6VMqys0tzjx9KeGUeqls1s/+Cuq3QBnmcqpwoJyx/XFAjQHdgk5zknNSEqBtQYWlCkfMwxjse9crfRHkWGxKdxbgDd3NPlTBLKwYex6VEvVv97+gqxb7UdWYZOCQD0/Gjd2HCz0IZI9xTrlRyB0/GnbD3ZRj3pxSViRjvnGeKTb5fVcuRwD2osOxsQZmhjcuwIGGx3qccCsiykDv5KMWaN94AbGT0OfatOSNTGodmAUhshscg13Qd0ehTlzRTGT8zQMuCctjP+6ac8sgYKsW5jyRu6CobmZjPb+UByxAZhxkqe1TW0Ji3FpC7NyxNbNWSuQm3J2/rRCRiYbhtVckksTT1hjXB2KWH8RHOfrUlFRc0UUMSKNGLLGqsepA60+ikYhRliAPU0tikhapp/pLDPECHv8Axn/AUkzNeZt4w6wn78mcZHov+NO06NI7cW4DFRyN5zwTStzryJbtKxNHl5DJjC4wn07mpaKKpjSsQzM29VAzyMD1P+A/wp0cYX5mwznq2KSIBnaX14U+wqWm2JK+oVFuzclVGcL8x9KWVif3a/eYdfQetCKFfaP7o/GhA3qJcRtIuFYj8sD3oA8uM9GYn6ZNS1EP3k27nCZA56mhMGtbjo12Rhc845PqfWiNWUNuOST19eP0p9Vryf7OFYngnoF5P49qlu2rG2oolQYLMz7iODxgCq0km52l+8oAAIHAG4d++cD8qpq8l7chCdqnqB0Aq5d/vALaPhEK+YR9R8tRCpd3Rmp86dtinAjRlpAZGa4kby2IyUGDg4P8vapI7LVo4Y1bXEJUruP2NACo6gDPGf0q/P5ahCwA+dQvHfPApZkjkBjbaWIyMj9auMWkXfVkN1liJYSGAB3bTk/h71JbLC0O9MlJBxn09KZNseMrtZJTxlU5BH9KI2WSUI0TJ5QyQRgA9vqOtPk6md/eBjiIxqSGVxs9+/5U6USzRP5ZQfKdgYZDH39qEjMmX4VWbdwOWHufSrFU3YqKuZUS6yxdX/s14iWyCHyT9OmM/pTZNJW+Ypq9lpl1Ds2gCI8856HjFacH3W/32/nRcMyx5TlsgAetJrUpO0TNm0TQIWa4bSLPeU8skQgkr/d+lUYrews5ZP7Os4LbcAGaJdoI9KsXU7SHaGJA7+v+cVABk4HWuWpX+zE46tZy0QqqpJJJCj8zSE5+lK/B28jFLFG0jhFGSa5229EY26ELt5ciyEH7jAe54p0SEZZvvEc/4U9raWTUI14VURgB1Ocr6Ug0TUDPdyRagI0uANqvDu8v5QvHze2e3Wt1RlZDp0nOTEp0Ybd8ikn0Aqy2l6j5iOmpxLsZvlNopVlOMA85yMHn3rVgRo4UVyrOFAZlXaCccnHaksO+50LDPqyjptu6z+ayFRg4B9aivrqQXbeXIyheODWseQR0rnpFKyMp6gkU6q5IpIKq9nFRRO1/dbT+8HT+6Kls72VXJlO9ccnuKot90/SrFtH5k0cPvlqyjOV9zKM533NHaq3sDR/xxvnjk8g5z/nrTJryQMDDEph8wIZWbj8Me/GfWpb20W68rdJLGY2z+7bGR6H2qfYmzy9i7MY244xXpXVlc6uWd2loRxqJAkjNv7jsAfpU1U41EepmONQsbQliBwN27rj8T+lXKmRcHdGX4v8A+RS1nPT+z7j/ANFtXnnhnXtUh8H6VbjR2kuo9LgOQW8vcIFPXB69sZz7V6F4w/5FHWv+wfcf+i2rB8If8ihon/YOt/8A0Utb4fdmWIexlt4slWKZhpc0zRMEIiDNluMj7vHXj6dqbB4l1JreCSXR3UlU80KGOGZNxHTICngnnoRXUqqrnaoXcdxwMZPrS11Wfc5rrscoYf7Ynk+1R3lnHBcMJTDGo81CXTeoZSCNuMnGT2x37rTNJ0WS0iNmrPboAgXzG2/LxhlJ68dxVCm29xdadLNPaRrOkpDSQMxXLAY3KcHnAAxjnA6VhPCQcnUivfdk33S2T9LuxpSxM6Oifu/kdSiqiBEUKoGAAMAVnxs1nq8kbj9zeNujb0kA5U/UDI+hq5Z3EN3bJcQNujcZBxisvxncfZdAmnChnV08vJwA24YOe2DXJGLcuXqd0Jq129GWtR1a1sn8oh5p+MRRrk89MnoB9axLqW9v/wDj7naKI/8ALvC2B/wJup/Qe1NhVw0k0zh55m3ysBgE4A49gABUlehTpRp7bnmTnKp8W3b/AD/qw2NEjQJGoVR2Aq14fkWKWbS5XBhkVpIg3B+YneoPcDOfxqvUdxDFPH5cyBl6jPY+o9DVyippxYotwalHdG5ojssMljKwMlo3l5H8S4yp/Ij8Qa0K4efSbeWbz/tF4k3UyLO24n1J/wAir+jave2t42l6g4uWdS1nO52+Yf7jH19/euSphmlzJ3O+FdVZbWbOporB0jXnklW11aFLS6ZiAAfl3bsBATyxxg5HGD2PFY+meJfEMl8sN1o7b3kkVEKsibBMqK5facZDE4xwF9+OZqx0Tpyg7SO2orh18X61GsBbw/cSt5LtMp3IQU5zwh5YfdXvkZIOQJ5fGGpRyQq3hi6PmtNgq7EBUQMufk+82cY6cHk9KRFjWfT7LVNYuG1KCO5a1ISGORQVVWUEnHcn+lZtsvktPab2f7NK0W5upHBX6/Kw5ps+h3Nr4mh8Uyyxqdw+0QoCzBSmzHmZGVBIbG0Vo6zZXcd497awi4ilC+ZGhw6kcbh2b36HjvW2Cqybkpq3bXe3X5mGNhdRmv6/pmFq2ltdXMV9aXD2t7CMJKjEZGc4P/189asWHi68sp0tfENky5+VbmBCwY47qM/p+VTxTJI7R/MsifeRxtYfgax9Xub46hLbxRf6LHFHl2iV1LsxBByc8DaeB3rprUoy1e556m4e9B/5Ghrviu1kdRprfa1K/Mxby40PozHufQZNc5ZaTfXt8bi5ja4v2cTNEXJjjjP3UCnjJxz7CpYtUfZHNbac4ARp4onmIRCVIyF28N1DDtnjOa6PQ5Hj122klUI1zAA5RiyM4BOB9Bnn0rGNGEYyknd27bEubrzXO9LlN9COiyxS6XqptdQk+aKydg6OB94BT7ZxgitO1ufFGoSSWMklhp7oAXlVGMm09Cqnj8cnFbGqaTaX5MkkaibYU8wDBZT1UkclT0I9M1j6HpupGd7TUDLHDaIFgnjbDNuLbkBzyoAXqPTuDXKqcbaHuwoUfZ6OzRZt9D0vS5RqUs93dXFujMHuLlnOcHJCk4BxnoKyPCVv/bUJ1KG9tzDDE9taSW8ocbmOWcleM/NjAPHNN8arpsEB0i3t41MqZuZQu+QKewPJyeufp6iquj3tzor21vpsb31nfW4u7i/ePpL9xV2rgc7VXjp1NactWi4uMVytPW+t9LaW6663+WpzxdKcZ04vZq6O00ezktbYfaDG90wAllUY346E+pq5IpaNlDFSRjI7Vyn/AAld9HcMJtHmEbKvlNk7c7yhLHbx2OMHCgnnpTLrxjcYEUOlSRyeaqPJIW8tRvYHnbz8q5HT7w5FTKTk7scIKKUUSeIIpIbN43yGdlVf9olhwKy9SunuLprNrXckMwYKpyzqBzgHqcHIx6eoqsPEmq63Y24utEdIY0aaSRGYmTooCrt4Pz5xntWCL6a3mk8vR42PkPslikdf3qbiuCFwOBg4A5PQ5rfDKEXdvXocuOp1OWMI7a3/AMjrorrdbxW9zK7woita3EKsGx0xleQRx9fTis6+aD7VayXkbuk8uyBbmQB5XAJGd3CjA4HUmr9zcLpenWqwpH5fyqS8h2oD3Jxk5JAzjvWbPr2nzXML3Ud9bSQOclOVXPQMR1yMHHvit5KnCblHRnK6tTkVOUtP6/D+makt9pMluQ5iljQFgnlbhhRnIGOmO/TmrNnBZzxQyR26IkgVhhNjYP0wRXMyXegx28MbQXzRNll+YnkJgDr2AIH0Nalpr0MNwttLZ3UYicKWYq21AyqXYg8YY4P0NVGs+rITi/isaHwTG34WaCB0EDD/AMfaij4Isr/CrQHU5VrckH1BdqK4WewtjD+HX/Irf9xHUf8A0unroizEDadoU5x2P1rm/hxCr+GRln51LUc4cj/l+nroDGrEndJ1P/LRv8a8+Vk3qedKUozbRXdtSW5+SO1aDeOrNvC7ufb7v61PB9rYO115H3sL5QI49896Xyl/vSf9/G/xp6wARsWMgUjjLtyfzpXTVieaTVrAx/dt7DcPqK6C2fzLeN/7yg/pXOCFSQNz/jIf8a2bKNjYRCMvuQ+W252GdrbWI/I4/Ct8PbU6MM5akuoxhrZpBw8QLqfQis57OL7db/O6QzqTsB5B4OM+lNkGrxOwumtmt3RlHlO/mBs8dTjGP1q1qEGy2h2yOHRlAbcTg5Az1roqRTgm+hpJc0mrdizbWVvboFRMkfxNyasVAtu64xNI/rvc/pigW+47pWc+ih2wP15qlGKNI3SskWKSmeUv96T/AL+N/jR5S/3pP+/h/wAaWhV5dglZY0LFQfQY6mopI/LsJAR82w5PvSRxLI/ms0gRchP3h/PrTLxVe2lWN3PynLbyQP1qopXRFRtRZdPWq9zM1vE7FQf7nPX61IYlH8Un/fw/41k3Qhur8IJZMRIWGHJy3T19z+VQ2lsKrOUVpuUZ7WO6ikW8RJRL9/zBkH8K5O70/VvCETXPhm3m1bT8jztNeXDxrkszRE5LMSehPQcCu5bRWkJb7ZNGO2GPP51Nb6LbpzNNPM3vIRj8q5Hh3LqLCVa9BuPKnF7pvR/dqn5rXzOe0PXrHWbRZrGRo2ABnilG2WAkZCuP4TWirq/KurfQ5pmveC9PvWa80yWTSdVCMIruHJwxAG50Jw5wMc5xk1zI1LUdDeO18bxQwSsWCalaM62zqNoDOf8AlmzE4C98VE4ci943q5c6q58K7v8Ak+0vTT3l+Pl1OnLBd3clsAep4qdDuwvRuzU210mR90is5GTtJmJ/Lmm+QI8ljIGwQBvb/Gm423PKjGcd0S/fZSfTnFObG4szYYjgHtULxbY1GZADnnzDz+tQSRqBsVpN7cKBI359aWgOTXQntt0MvnDjLZBBzkVvRIhAfc0meQWOcVzk8Kq0dvG0gUL8xEh4/X/OKt2My22VkaTyv+ujcfrW1Oai7X3NaNTkdmjSuy3222VcD75ye3y1PCVwQrM/qx7mq8sMcktsW3kEk8uf7v1qx5S/3pP+/jf412O1kdUebmb/AK2RJRUflL/ek/7+N/jR5S/3pP8Av43+NRoaXl2FlkSNGZmA2jJFQxwtLiS5+bjIj/hX/E1HcQRyXUUeXOPnb5z0HQfnVnyl/vSf9/G/xqbKT1HeS6CsDvVuyg5HrUcCfuoWzyo7+hpJolKGMNJuYHH7xhTo4UCABpAO37xv8a00sRq5bE1RSMGbyhnn7xHYUvlL/ek/7+N/jUNuqktgytl2JO9sDHGOvtSSQ23sWQABgcCgkAEngCmeUv8Aek/7+N/jUc0asVi3SHd1G89O/eiyBtpbEkOTmQ5y3QHsO1L/AMtT/uj+dJ5S/wB6T/v43+NN8pfNPzSfdH/LQ+v1o0D3kSnocdaZbjEKYz070eUv96T/AL+N/jUdtCqwKoeU4zyZG9frRpYPevsWKiuolmgZGwOMg+hps3lRLuZ5PYB2yfpzUQtWnIa4aRU7RCQ8/Xmok1sNptaoybe5kjdvJAyRt3HoPp61srGsVoqjJJKliepORk1j6vZ/Z7jdCJGWT5tocjB796dHcTNakSiVEVlCkzHLc9KxopQlaTONVXDmg0bN2FaNQxIYMGUDkkjpxSMszL8ypn+HBwQfWsp5XydkzJnv5jk/marzNLhVF5cAs2OJW6dT39q09vDZFSr9bG6s5+40b+bjlccfn0rP1jzAyFZdkuM5A4x6H1FT6dC4tDhnJJJTdI3+NNvtOaebzFkbGAADI1OcrxvEqanOnsJBqqtFloSHBIODxSHUpGOFRU9CeazYrQBSolyQzceaR3PqacbR/SU/SQn+tczqSvuYKrWsiVbq5YOGkYfO3A4700szBtzFmI4yaiit90bZEoZWb+NuRmhY0XJ/eE9BlzxSfxasy5pWVx315NOHyrnuelMCR91J/wC2jf40hjVm6yfQO3+NZ6dw1JVZuF+8OwNWbMBrgRx5HqQap+Ssan5pN5/6aHgfnV3R7dPML7nJA/56Hj07/X8q1opOaNKfM5JGgQFuolUYAjfgfVanqs8S/a4vmk+4/wDy0PqvvUvlL/ek/wC/jf413O2h3Rvd6f1YkqpPeBLg20cMkk20sBjCnjON3Sp/KX+9J/38b/Gjyl/vSf8Afxv8alrzLTfYyZdT1mOz87/hHZDKNu6P7XFxnqQc84/DNZNxc6io3RaX5rbsMPtKqQMZyM8EZ469jXQ6k0UcXlsZSX7CQ9PzrLa1XbvjeRl7/O2R9ea56zi3Y5K8m3awyBneIPLCYmxlkLBsfiOK1dHj+V5m6ngVlmEeXtDSZf8A6aH/ABret7ZIoVjDScD/AJ6H/GpoxTdyaEW5XsT0yaWOFN8jBR/Ok8pf70n/AH8b/GoLqy82SKSOeSN4ycHJYHPtmutKN9WdUnNL3UPs0fLzyDDynOP7q9hVis+SOa12SvczTRg/vMnGB68elTdUMiu+zOF+dueevWqavrcmEmlaxU8Yf8ijrX/YPuP/AEW1YPhD/kUNE/7B1v8A+ilra8XRp/wiWtYdz/xL7j/loT/yzb3rF8If8ijon/YOt/8A0UtbYbdmeIvZGpRRRXWcwUUUUAN0++m0cJC376wL8szAG3BPJ6fMvP1FWvE8032qG0l8o6bcRlZw0RcsSwAC44B57+3Ws/U45prCaK3bbIy4HT8Rzx0zWpJbtrlhp89tc3FlFFJvZGUbiVOMHqOCCPTmufERWk/vOvL6ijV5JPS2n9fcYugll01beRw8lszQOe+UYgZ98AH8avHgZPSqNojWuqXls/8Ay1mkm54w27BHv8uxvxqzdxGe1mhDbDIjKGx0yMZrpTvZ9zlqLllJJbN/8AkjdZI1kjYOjAMrDkEHoaHYIhdztUDJJ6AVkXGjzTSwv9sEYiwVREOMhdo79KX+xFB1CQXDGW86sc4XpxjOO1acsP5jm9pV/k/E1IJY7iISwyLIh6MpyKi1CzgvrcwXCtjIZWU4ZSOhB7GsWbw7Mo3Q3mWUS+WmCqoZM5PXkDd39K0NYujo3h+e6ij8020QKqxPzHgc45pTUY6xdyqU6k3acbDbm4ePyrfxBuubVAUjv0QeYitwyt6ZHBYc812emT2c9nGbGeOaBVCqyPu4Hv8A4153F4rQt9ludLuxd7hGYlC4dywGBuII+8p+YDg+1KmtppsuleIobRkF7CVnti6jEe3fnOdu4YHHfP1rz8U6NOnKrKXKkrvt/wAA9SlWqStTlr2PTKKjtpkuLeKePOyRA65GDgjNSVympS13H9k3AP8AEu365OMVT0PULq81S/hddttbMI0zGQScnnPQjHv+VWde/wCPSL0+0RZ+m8UzQLPULKKaPUL1LomT9yUjCBUxwMDvnPc1S+E6I8qpO+//AAxneJ7yylkktljk+327IYnCdSSPlz6EHnPGMntxzNxf6xFq8kKWs0kC3G1WMeVdW2nqOm0E89z9K6LURcR+IJluGVvNiDQ7eiopxgjGc5J5z+VFehGHuRSZ4U7zm3e2pyy6nrESGU2vyvGZf9IQqEO0ErkDjr39PrW5aGS+sIbiZXtpTiSPbw8fofrjqPcirrAMCrAEHqCKKcIuL3Eod2a/h66lutPJuJRJPHI8ch27eh44+mD+NaNcr++jnjuLeQJJGScEZVwRgg/pzVWSbULW9u9QW5jWS6QKSUZ0gI/iCjqMBQfpnuaxlheaTaZusU6cUpK9uv8AX9dSKa1je7+0RKWvHuZY4Of4i5GT64Az+HsKv6fdadpubLTNUjRLd/JaO4B8pnC5ba3Y8EntnNU9OMsVpYXqI0kkB83YeDJuVg3pgkMSOnata41XS5klhfTrxoyoIIt8eYT1Udwfc4Hua1xEZytFaoeAq0aV5VNL2/r+vIuDUL8j/kDySjs8U8bKfzIP6UwaZbtCbzWG3yn55N0rCNB2XGcED9aq2mp6bp2krZaX588kS7Y43jcHJPViQABzk/pVCG2CyzTzO0007FpWOdp9gvQCsIYeTvzaHTUxsYu1H7/6v9xp6lrKTQG30ve7sdpmCYjjHcgnhj7DNZsNskRT53YICEUhQq5OSQFAGT61PRXTCEYK0UcMnKbvJ/5Ec0EMxQywxyFDlSyg7T6j0rEu7q1tr66Vre0RYPLAjMY3S5wd2eygkc88g1v0hVWOWVScY5Hb0olG+xMlc5ldZsfmZdJtw0aMSMgEBccj5funcMHvnpWrpi2+peczW8UaG4KHy+sgUjO7gdTnjuK0SiHqint0p8IAlXAA+YVKg+rEovqyp8FP+SW6F/1wb/0NqKPgp/yS3Qv+uDf+htRXAz1VsYvw5IXwjnaMnUtRAP8A2/T5roLdPMkWPcF3HGTXO/Ds58KqPTUdR/8AS64roEJUgjqDXnTfvM86b98s3tv9mZBv3ZGelVw2ZBuJPTP0qa+umm+YoAFGeOpqIKFYFskNzx6UTtf3dgny83u7Aiknkd+a2NNYNbHAx87H8zn+tZRdoFdcCVZMbSvGB6ketX9HnjkhZV3Bt2CCPRV/+tW1DRs3w7s2hdWz59if4BP835cfriptRZVtJS6lhsPAGST2qS5hS4haJ+h7jsfWsy8muIfJt7kZy42zr0xkcn3rpnrBmt+Sbb2djVgbdCjZySozSSSqjKrZJPQAZNY9zq1ja3str9pMc6tgqIGwTjPXoePSrWkajZ3yT3ELn5H2MXUrjAzxnrTNbmgWbP3Mj61BP5zgIyqqn0bkn0qlNq7Bg0FpJLFnG8A9fp6VA15dXWz9xPBvGWbYcqvoPrQtVdIwliYbI0p5ILdN1zInUDbngegxUGpajbx2siRnzmMZKiPkfTPam2FvaySJMkUynYGIlQ5JPqTVy6jjW2lKxqp2HoMULm5rMT55QbVl+JUlg1K6yJZlt4z/AAx8n8ciprSxFnGRExlZvvs/Un1/+tV09aKlRS1NVSinzdSFctyFZsEqQ3Az681KM4G7Ge+KWiqLQVHPDDcRGKeKOWMkEq6hgccjg1JRSKTa1Rw8Hg/UNAvru+8HapJCkzEvpl67SWpcspZ1/iU43cA4JI7cGO58ZaZHqlvYeILefw/qEwJVbsDypAGIG2UfKWIAOM9CK7mPq/8Avf0FZfia3sr6y+w31nBdxP8AMUmQMBjoRnv71hVpqMXynVPGU68f9sjzea0l9+z+evmijcSfumfoAOMUHbDGvlr88jbAcdOMmuTuvDutaXav/wAIprByoAWz1BjLEfmLN833gTnr2AHSpbLxVJDHbW/ijTZdHu9y5YnzIGZyUVQ46sTzj0rkjPuefLL3Nc+HkprstJf+A7/ddeex067RLJIw+VEGffqcUwqWHnSuxP3iM4H0x7UlvJHexA2cyTJLIFVo23KfXke1WzY3QZnlhyoB2qGBzWqi2tDz+SW1h1rdtBLAtwSEJJQdSBtPWtsEEAjkVyrq32iGSQ5cs34cGtvSBPs3EjyewPX8K3pzbtE6MNUd3FmhTJJFjUsxx7dz9KVhuXG4r7io5dlvC8u3JVSc9z+Nb6dTsd+hHZP55e6AYK+FQMMEAdcjtzVqorVCluity2Msfc9alqYrQZE0OSWVish6P1xRBIrRr8wz3HepaifaICzqGABOMZq90Q1Z3Qs7FYmxnJ4GPenqoVQo6CoolOVU9IwB/wAC/wDrVNSY1rqFQo4xLK2RgkfgP8mpqgCsZfK48tcN79+P0poJEkQYLlvvHk+1H/LU/wC6P50+mf8ALb/gI/nSGNuJfKj3d+fyHeo0a4aNdiKN3O9z/QVDK/n3hjXLooGQB972z6ZxVoTLwJFaM+jdPz6VOstthXV9RIYVjbe7eZKf4j/IelTVASzyrIkWQAcMxx1x2qenypDTuVdTi8y1LD7yfMPp3rHuuEWP+7j8810JAIIPQ1hXUL+c0ajcdwH6isa0b2aOTFR6oi6nA61eisfL2zzYO0/czwc/1q3Z2aQfM2Gk9fT6VZPI55pUqNtZFU6Gl5BS0UVudRm3tipmMqsEDkZ443VWms54V3soIzjIOce9as5VwIupYjtU1TOlGWrRzuhGTdjm4JJArYkYfO3f3pZppAq/MWy2APU4/lWu9vbvFI8ihMMxLDjHJrPSxmmSO4QcFThSeRkjBx9KzdCSbaZzOlNJJFUs7bQsYVmzwW4FO2zIh/fAM4GCE+6KlW3kaYQ7SrE/xDp71curBgoaMlsDnPWslTk1dLUmNOTTZlYmX+NXAHQrgn8elbmkri23YIz61klHLbFHzHgCtuNDGitCSy7R8vHPHX61eHW7Zrh42lcV/wDj7i/3H/mtSMyqyg8bulQPJ/pcPySco/8AD7rUhZX+RonwfVeK62tjqT1f9dEJcKHwuDuHzKc/mPyqNLuIQuxfdsIBx156Ux2k81Fh5BbGWIyvr9afd28ZtX2J8+Ovcn3PelJaWJberiZVzM00zSNxnoPQUyMsHG0kHPWk9fSnLwhbv0FeZrfU4rtu5cs/LnuN+0KUGRg9fwrVrmySASDg1saVJJJblpGLc4Ga6aNS+h00KmvLYuUUhIAyeBSZJ+6OPU10HUKelVGtQBm0kMOeoABU/geKtbf7xLfWnU02iZRUtzmvF4nj8OavCJUlc6dcuf3W3A8ph1Hue/pVHwh/yKOif9g63/8ARS1f8RzqPCfiLbE7MtpdB3yOf3bYAyfTFUPCH/Io6J/2Drf/ANFLXZR+JnFO3KmjUoooroMwooooAKNOv77T2trLyku4pJNihEIkGTkseSCBkk9KKr3EssdxC1nG895E3mJEnVh0IJ6AEEjJ7/ShxUlZomUnH3k7FjxjD9n1DTtQjUhWn8qfHQ5UhT+B7+lFWfHas3haebbtEJSZ8kZRVILEdsgZrkda166W7099I23VtPGzny4zIJCHQbdw4U7WY8/3awoTXs/Q6sRG80+6/r8LHS0VycHivUpLJJD4elW6aJJDCZHwoZUYAt5fX5iCMdVNTN4h1dbjyToGSshSRhO+OhbK/u+Rge3JA96150Y8rOmrm9Zn10aw1tbRu1mcZbyVYAFcjkjsyMD/AL61DP4o1FLSe4j8PyyiE8gO4JBKjj5OSM5b0AOCa6e3kaW3ikZChdAxU/wkjOKLqQWaOLF74ktvtF2+lvcz4PlgwKSSGAUEgZwMnvxVqddX1VP7PuNHs4LUkPFujJ8tgXIJHT+AdP74rraKFGzByJdM8QXPmi31PTjbkR7jLE+9AM4yQOQP5V0MUkcsayRurowyrKcgiuUmh3SJPE5iuI/9XKvUc5wfUeoNWtO+wXUpikaXT7pj+8himKJKf7y+ufz9a5q1BL3o7HVRxEZPlqaPv3/4Jr62YF0i7lug5hihaRtn3gFGcj344rlra+1fxV4UP9nTCy1CGdVMqyhlZCMbsrxna2ceo+ldCdHUuIvtEjWOdzWz5bJ/3ic7e+K0YIYbeMRwRJEg6KihQPwFcMoz501L3dbq3pbXpbX1v5HW3FRstTy+bS/E6Xdz/poM7+R5oabcIm3iR9pIzjDEAdMAcUlpZeLrWOUrdLO8rBm8x0LAhEGRxjkhsj0xjB5rsdWia31hz5iOt1+824wyFVVfxBwKir1YRXKrM8uU3zO66mPbR+IF1C3ee4he23N56BVGAfMxt4zx+6792rYoorRKxDYUUUUAFFFFABRRRQAUUUUAFFFFABTov9an+8KbWBrlrr0mtWs2mTMtuHgE0fmBQVWYM2PcqCD7cUm9BpXNb4Kf8kt0L/rg3/obUU34Hlz8KPD5kXa5tjuAOcHe2RRXms9FGJ8Ov+RWH/YR1H/0unpdWfWL7xXouhaTqy6Wt3b3s8832VJmJhaAKoDcD/WsSfYU74ax7/C2c4UajqOT/wBv09WVCf8AC1/Dexcf8SzVPx+ezrijG83c4oxvV18wtfDevX6zLZ/EqK5ETmKXydMtm8tx1U46EelWf+EP8WYA/wCE+fj/AKg9vVn4a+GLrw6l/wDaLiwmErJFH9kjK5WMv80mTzISxDf7orsK63Th2Ov2UOxwx8H+LCcnx8//AIJ7enw+FPF8WPL8fuOSf+QPB3//AFV21FChFdBqEVsjj/8AhHfGn/RQD/4J4KiufCvi+4j8ubx8WXOf+QPBXa0VQ2k9zz6PwN4rT/mo12WxgsdKt8n8hj8etSR+CfE6KFHjt2AOQG0mE/1rvaKVkS6UG7tHGp4b8ZIu1PH20eg0aCnf8I740/6KA3/gngrsKKZZx/8AwjvjT/ooDf8Agngpsnhrxk6FG+IDYIwf+JPBXZUUA9Tj/wDhHfGn/RQD/wCCeCj/AIR3xp/0UA/+CeCuwooA4/8A4R3xp/0UA/8AgngqG90fxVZWz3V58SIraBMbpZtKt0VcnAyScDmu2rn/AIgaTqOt+GpdP0v+y/tLupDahAZY1XPzEAdGxnB5wecGkxoxn0zxKl7FYt8TIFupkLxQHTLYSOo6sq5yR7irP/CO+NP+igH/AME8FQaX4Pvrbxfputs9hAlpYLZlYJJyTGm7am1m2EfNndt3cdcGu3qmkSccPDfjMZ/4uAeTn/kDwVHL4V8XSuGk8ekkf9QaCu1oqWk9waT0OEPg3xV5jSf8J64LYyBo9vikm8FeKJkMcvjrehx8raNbkZHf9a7yilyR7EqnFbI8l0r4Palo99Ne6L49vdLmmXbJ9l06FVb5g2dhyueMdOhI711K+HPGgUD/AIWCx9zo8Ga7GiiMIx2R01sRVrWdSTk/PV/ecJJ4M8VO4ZvH0mQSf+QPb96sp4b8ZIoVfH21R0A0aDArsqKailsc8YRjsjj/APhHfGn/AEUA/wDgngpkvhnxlIm1viA2Mg/8geCuzooauUcf/wAI740/6KAf/BPBR/wjvjT/AKKAf/BPBXYUUwOP/wCEd8af9FAP/gngpp8N+MiAD4/OAc/8gaCuypJF3Iyg4JBGaAscJY6b4iuomez+J1tcRiUxM0WmWzASZ5UkH73t1qW10fxVdKWtfiTFOB1MelW7Y/I1m6f8O55PBQ8PyautvF/aIuVexkkbYi8FVaVmbLHJIJIGSo4rOuPhZq81+t5/a2mxu0/mMI7d0EBwgEsQDYEg2EDPADtT6gdV/wAI740/6KAf/BPBUcPh/wAXyBni+IW8FiCV0iA8jgj9K47WvgvcT2Mcel6yllN5itOVU4uFCICrbw4++rSZ2k7iD15ptv8ABe9j1Gdn1qI2Eq7DbheGUzrIwf5ctvAJb5gNxzii3mC1tc6DxfD408N6DJrX/CaLeiCeANA+lQosivMiMMjkcMeRXZ3LmS4khjbaqj94/wDdHp9a811rwpe+FPhV4isri9tp47nU4bi3EMWzy1a5i4Y9WP1JI6ZNek+WrXrRb18tRllH8RyepqXG/oTKVvULFVkQsU2qD8q9sdv0NWlZWzjscHjvSEYO5VG44GfaiNkdN6EFT3FDY4qyH0hYAgE8np71SWfJkMaKsgOCzKfm+nc9vyq1GGZzIwI4wB6CiwlK+xJVN8LGsmc+ZJg4Hq3FWXdfLdt3C5z7VXvRItmm1iGVkzgZJ56VUNyKmzZaY7VLHoBmkQsUBbGfaqRupnCRyWsybic9O3br3q8DkA4x7UnGxUZqT0GJ8zFuwyoH0NOddyMuSMjGR1FNi+VnQ9juH0P+TSXU8VtbvcTtsjQZZsE4/Kk9ylsLAcL5e0KUxkDpRPJ5cZbkn+EDqT7Vgz+LfDdmss02r2204YNvzkHgVZh1/QxJtbUoDMcZJyM5zgDI+tPzJV7WL6Q7omySzhjgk5GQfSrEbb0DdMimw/db/fb+Zoi4eRR0DfzFD1CKskFxNDbx+ZPIkaD+JjgVXl1XS4oTNJqVksYAO4zrjB6d6VdNsleZ/IDGYgyByWBIOeh4H4VXPh/Qi7O2j2BJCg5gU8L0HTjFSvMtkguNNmuMxXlqZUkMbL5gzv8ATGevI/Oplt5hnF04HZdo4+lNbTNNaVJWsLUyIQVYxLlSMcg/gPyq3TTsS4Ipvbr9qQeZMdyuTlz/ALNLJDCCSsAcpgklsYIHb3p87bLiNsZ+R+PXlaF3eX5bY3F8OR+Z/wAKu7sjLljdq39WGwW0ZAkfL7h90nKjPNWe2O1LRUNtmsYqOxEYY2ZmdVYnplelV5rKBpEVdw6k4PQVbZwoPfHXHao4lZsyN8u7sOoHbmjfcUoReliF7K1VCCGJPTnmpY4ERSqKUXJ/iP6c8VKQApx6U6kklsChFPYiiUq7BjuI6MRzipajIdZGYKGBA74pD5yjduVsDlcY/WqsO9ivqD6osiDT7ezlQqd5mmZCG4xgBTkdc9O1MubyeGwUzJEt25K7InLqpz1yQO2O1Q3utwpN9lsIJNQvMA+VF91Aehduij9faua1m0trG2a58Qaq+4b5mt42KIoxkhQp3PwOnfHSolJq7S2MZ1JTXJRV5PTT+t/S5Z8U6ta2fhPWLUyLLN/Zs+y2tlMkh/dNksFHy/U0nhD/AJFHRf8AsHW//opawNdu/EOqeHNXsfDWjw6J4fXTp92pzAebcKYWIaGMduRy38+m94OZX8H6IyEFTp1uQQcj/VLW+Bk3e5eLwtTDRhGo1d9E729fPy6dUjVooorvOEKKKKACnaLMbfxG1vujEd3AX+b7xdCBhfwbp/8AXptRzwrMm1sqQQVZThlI6EH1oaUk4vqJ3TTW6Oi1exj1LTprKVnRJRjcvVSDkEfiBXJ2ulxaRfy2djJMYlJkumkI/eyv82QAOOMZ7c/Wtqx1yOKJYtU3RSr8pm2Hy3HZiRwvuDjms2S6tn1O9ZbyGUNMCrBhgjaox+GMfhXHQwqhWdRx961r+V1pfsbV68ZwjFPrt8mT5NJVG91bTbK4NvdXSRShUbawPR2Kr+ZBFPGp2B1A2C3KNcqhdkHO0DqSeg7dfUV2XRlZlzJpKrW99Z3Fy9vBOksiIsjbOQFJIHPTsfyqzQAUUUUAFNljjlTZLGrr6MMinUUCeoy2ku9Py1nLJLGMk28rllPspPK+3b2rW/4SDTfs5k81vNxn7OVIlz6beuazKO+e9ROlCbvJFQlOGkXoUob+3n1W5W4uIP7QchnhDZMSYG1fwBBPuc96sm4t1OGniB93Fcd4r03w/pd9Lq2p6hc2kupSlTLGEXG2PoSRyAF498VX+x+DXs45W1Z4o5f3Yd8feIdm5II3EPjPqgxyKOZ7DUFY7wOpO0MpPoDS1zng3S9OilvNYszes13LIubo8jDnO0YyoJAGD/dFdHVJ3QmrMKKKKYgooooAKKKKACiiigAooooAKdF/rU/3hTadF/rU/wB4UMCp8FP+SW6F/wBcG/8AQ2oo+Cn/ACS3Qv8Arg3/AKG1FeYz0lsYvw0yfDK9SBqOpf8ApdcVN5kcXxU8NNI6Iv8AZmqDLHAzvs6q/DppV8Ljaq4GpajjJ/6fp/atTWdF0rWrZF1fRdN1FEZvKW7gSYRE9Su9TjOO3pXEnabZwc/LUb7XK+jw+MtBF/Z6b/wiV3ZzaleXkMlxqMscm2ed5drKsTAEb8cE9Kvf2p8QP+fXwV/4Np//AIzWAfBvg9WWM+CfDDSN93Glw8/+OVq6Z8N/B0IM1x4J8MSSv1B02HCj0xsrqhNy6G9PE87skWv7U+IH/Pr4K/8ABtP/APGaP7U+IH/Pr4K/8G0//wAZp58A+CSCP+EF8K/+CyH/AON02LwH4L5VvAvhXcvX/iWQc+/+rrSxvzoT+1PiB/z6+Cv/AAbT/wDxmj+1PiB/z6+Cv/BtP/8AGar3/gjwZbyxOPA3hTa/ysDpkP1/ufWmWXgbwZDdyWkvgjwsf4oy2mQcj/v3SRnKslJIt/2p8QP+fXwV/wCDaf8A+M0f2p8QP+fXwV/4Np//AIzUJ8A+DXmkVPBPhVXjIK/8SuDofX5Klh8D+CZoiR4F8Kq44Yf2ZB8p/wC/dK+tjRTTVzO8Pf8ACwdJtbmBm8HXXn3txdBpNVnygllaQIP3J4XdtHsOgrS/tT4gf8+vgr/wbT//ABmnR+AfBgXD+B/CjN6/2XAP/adO/wCEC8Ff9CL4V/8ABZD/APG6YcxH/anxA/59fBX/AINp/wD4zR/anxA/59fBX/g2n/8AjNSf8IF4K/6EXwr/AOCyH/43UV14D8Fi2kI8C+FQdp5/syH/AON00rsTmkri/wBqfED/AJ9fBX/g2n/+M0f2p8QP+fXwV/4Np/8A4zUh8BeCs/8AIi+Ff/BZD/8AG6avgTwSxbHgTwrwcZ/syD/43RYfMhv9qfED/n18Ff8Ag2n/APjNH9qfED/n18Ff+Daf/wCM1J/wgXgr/oRfCv8A4LIf/jdMXwH4LaVv+KF8KhV4A/syDk9c/wCrosHMjM8P/wDCwdJgu4mbwfdfaL6e6DSarPlBLIXCD9yeFzgfToK0v7U+IH/Pr4K/8G0//wAZqT/hAvBX/Qi+Ff8AwWQ//G6a/gTwSqFv+EE8Kn2/syDn/wAh0WDmQ3+1PiB/z6+Cv/BtP/8AGaP7U+IH/Pr4K/8ABtP/APGao3fgPwtH88XgfwqFXJdv7Mt8Zx3ynTFWYfCPw9lZETwj4MeRuirYW+ScZ6bM0urQKSsmS/2p8QP+fXwV/wCDaf8A+M0f2p8QP+fXwV/4Np//AIzUn/CBeCv+hF8K/wDgsh/+N0f8IF4K/wChF8K/+CyH/wCN07BzIj/tT4gf8+vgr/wbT/8Axmj+1PiB/wA+vgr/AMG0/wD8ZqT/AIQLwV/0IvhX/wAFkP8A8bo/4QLwV/0IvhX/AMFkP/xuiwcyMnw+PiDpMV6jN4PuvtN9NdAyarP+7Ejbgg/c9F6D+QrS/tT4gf8APr4K/wDBtP8A/GabP4E8EpLCW8D+FVXLZ/4lkP8AdP8A0zqOPwL4NbM7eBPCw3fLGn9mQdPU/u6T3SEprXyJv7U+IH/Pr4K/8G0//wAZo/tT4gf8+vgr/wAG0/8A8ZqT/hAvBX/Qi+Ff/BZD/wDG6Q+AfBWD/wAUL4VHv/ZkH/xunYfMhn9qfED/AJ9fBX/g2n/+M0f2p8QP+fXwV/4Np/8A4zRH4F8EZEZ8C+FA44x/ZsH/AMbpz+AfBZX5fA3hUHsf7Mg/+N0WFzpob/anxA/59fBX/g2n/wDjNH9qfED/AJ9fBX/g2n/+M06PwJ4KZc/8IH4VBzgj+zIf/jdRN4G8FxgM3gPwsV2MTt0uEnjn/nnRYOdGl8PrP+wfCVppeoX1hJdo0skxglzHukleQhScEgbsZIHSt/7ZZ/8AP1B/38FcANB+HJdF/wCEF8PAu+xc6Gg5/wC/XT3p8fhv4fyBCvgDQCHGVP8AYkfP/kOiw+ZHefbLP/n6g/7+Cj7ZZ/8AP1B/38FefXfg/wAIy3LW1r4I8LKd2MjSoCQR1/g6VpweAfBCRKB4H8Kvn+I6ZDz/AOQ6iMuZuw27CfGO7tW+HeobZ4pD5tqdquCT/pMXapYfGnhK5lbdq0NqXj3MtzmAqocqCd2MDdx75pYPBXg6B47qHwT4ZhljYOjppsKsjA5BBCZBB71oarZWuqI8F7pVpepIgUiZAwIB9xTcZP4TWlUw60qp/L/JrX70X4bi1MIkhnjkjY/KUcMD9KjRxcEbW8tB8xAPXnnP5Vyr+ANAs7cyaPBLo+1JPmsLp0+8VLHHQn5QM44yahm0Lxnp+pTX+n69a6jYuHZbHUIcMrEHaqyKBhc4zkdM1N5Ldfcbexw9Rv2dW3lJNfiuZfe0jtoEVXcqDgYUEnPAFTVw8vjG/wBBtEPiDwtqMEW/a1xZg3Mf3VJY7RuC5YrnH8JNbWl+JtJ1qKI6ZqVnP5oRgiykOVbODtIyM4P4A01OMna5FTB16NP2koe73Wq+9XRrbt0b9j5m1s/Uf0pb3i2ZiM4Kn8iKhXzfO2COMBX4G49lHt79aluDMYiDHHjI/jPqPatLao4ea8WTsqsuGAI9DUb7o8MpJQZyvf602Bp/KUeXHxx989uPSn5n/wCecf8A32f8Km1jS6eokoJXzIz8wA59RnJFNeSOWPaqCYMAdpHGD0zmoohdPFt2xonIADnJHbORU0ayRoESGJVAwAHPH6U7EqV9Ri2VsXMktvBJIQAWMY6DoKlMMJx+5j44HyDijM3/ADzj/wC+z/hRmb/nnH/32f8AClZlppBB91v99v509QFzjuc1BCZtrfu4/vt/GfX6VJmb/nnH/wB9n/Cm1qKMlZDndVUscnHXFOqoqyySyMyrjIG3zDjj8KnzN/zzj/77P+FJxBTuSVEZlztT5jnBx0H41FmaRm3qiqrEbd5Gfrx+NNt2mMeFhjABPAbA6/Snyi57sbcEi5ikcg+WGYgHgD5fzqxbsvkKxb73zfXPNU7vzGuUjMaFmRjtVjzyvfFW4lmjjVNkZwOu88/pVNe6iINc7/rsS5ZhwMccE0bcqAxz69s03M3/ADzj/wC+z/hTDJN5gTy0JIyfnPA/Ko5Wa8yJHTdgZwvO4Y60+s+/1S3sSFupoEkP3Yw5Z2+igZNVF1TV5yz2+jpBbAZ8+8uPK49doUnH1xUtrYzdaCduvozab7p+lFcXqmv6qsTra3+nzuB0tLdmA+sjNtH1rmbjxO1zK8LeIJtSmZjGLHSY1ch9pba8u3aMjIzwO2aylXhHf9P8wpSq121RpSlbqlovV7I9G1jXNP01P390iseFVfmdj/sqOv8AKud1XxVbQAX2vXw0LSPLZRHLIBNcNjjG35lPoBk+uK5yytfFU16Gs7Gw8P6ewXzZZmM97KCoyN3RDkkZ9R3FbOg+GNP0+dbqRRqV6hWR7i+fzWZlXZuAxhT9AOc1h7eU5e7t/X9dDeVGFGSeKndae7DV+jlsvlfs0SQa1fTaesfhXSI9L01wpXUr9SquHjYq6p95iGCg7sdag8IeHbax1db7XtYTXtRkk8z7TcSKwjkA2jy06R8MVwPUV1/9oNIu2a1idT1+fI/IipIpLV2ZVtrZSck5GM/pXVS9lb3tX/XQJ5hLl9nhrQj2Sd36ve3krLyI/F//ACKOtf8AYPuP/RbVy/gJPJ8LaZbJbmOFdPtnRtxIYvGC30wc8ehFbviqK6i8J60sTReUdPuMK7E7f3bdDjp7VznhSRf+EQ8M6hcGa2P9n20TRg5GXjQAN/wLGD713YZas4cRK6V0dJRRRXSYhRRRQAUUUUAFZ+oWOlqZNQu7eP8AdKZHfHQDkn9K0KR1V0ZHUMrAggjII9Kak1syZQjLSSucHrN14b1iVZdWtZ4tRfcltB5/zlcDGdvCEg5weRzTdKl8IQwPfzXFzbz3cJWcSkscyjeQSBgtiPt0xiupj8NaDG0TJpcAMSlYzydo56c+5/OnP4d0N92/S7ZgzhyCuQWClQfyJH41lys25kZGgX3hPSLmeysLsiadhI4YE7mcluOMZZpCdo7tgDtXV1lx+H9IjvY7uKzSN45TOAvCmQgjeR6/M3/fRPWtSqimiJNMKKKKoQUUUUAFFFFAEF3Z210ALiISYR0GfRhhh+IrLPhPw8cf8SuEYZ2XGRtLkFiPQ5A+lbdFKyHdkVpbw2lulvbxhIkztUduc/zNS0UUxBRRRQAUUUUAFFFFABRRRQAUVT1u3uLrSbiG0kMdyV3Qtu24dTuXJ9MgZ9s1zKaT4wtbGSO11SKS4dZMSSNkbtoCMQc/kOh55pN26DSv1Oyp0X+tT/eFcvb6Z4hildGvw0ZuA6ybvmCFSGGMYJzg56e3FU4IPGsurxwvcFEhjjYyhlEckmAMdM4BJJHfFJy8h8vmdT8FP+SW6F/1wb/0NqKZ8DBIPhL4eExBlFqd5HQtvbP60V5zPQRwttceKfDz3ek2OpaJJbR311JGZ9MlZwJJ5JMEi4AON5GQB06VKviDxozqn27w787bc/2VPx/5M0UVzRSctTkaVy3bap4ut38xb3w40n95tKnJ/wDSqrf/AAknjj/oIeG//BTP/wDJNFFdNjqjFRVkg/4STxx/0EPDf/gpn/8AkmmP4i8bblf+0PDmQcf8gmfof+3miigb2I7zXfGs8QV9Q8OYDBhjSZ+v/gT71HqGueM5FWVr/wAOh4+VI0mcEdP+nmiinFakVIpxdxLHxN42kmkl+3eHA5VQT/ZM/P8A5M1OPEPjVbkst94bBdef+JTPzj/t5oorJbIdH4SX/hJPHH/QQ8N/+Cmf/wCSaP8AhJPHH/QQ8N/+Cmf/AOSaKK0LD/hJPHH/AEEPDf8A4KZ//kmo7nxH42NvJm/8OY2n/mEz/wDyTRRTW5MvhY5fEnjjaP8AiYeHOn/QJn/+SaSLxH438sH+0PDnPP8AyCZ+/wD280UUhj/+Ek8cf9BDw3/4KZ//AJJpqeIvGw3EX/hvJOT/AMSmf6f8/NFFAdR3/CSeOP8AoIeG/wDwUz//ACTUL+JPG5lXN/4cwGxj+yZ+uM5/4+aKKaFIePEXjYh1N/4bIJ5zpE/p/wBfNU7S+8a2zo39reG3VOVU6JIOcY6i5oopDRf/AOEk8cf9BDw3/wCCmf8A+SaP+Ek8cf8AQQ8N/wDgpn/+SaKKBjP+Ek8btJ/yEPDny/8AUJn/APkqn/8ACSeOP+gh4b/8FM//AMk0UUCRUuvEPjSa6hikvvDhUZbH9kz88H/p5qWTxN43FxGn27w36g/2TPx1H/PzRRU+ZL/Um/4STxx/0EPDf/gpn/8Akmj/AISTxx/0EPDf/gpn/wDkmiiqLGt4h8bMQTf+G8jof7Jn4/8AJqiPxL44ZA32/wANjr/zCZ//AJJoooF1IrjxN44j+Zb/AMOZbg/8Smft/wBvNFv4k8cNHE39oeHM4P8AzCZ//kmiipv7xn9uxDqPiLxozpuvvDhwD00qcf8AtzUzeJPG8cEca6h4dAOF/wCQVPkDH/XzRRWfVjj8TGRa94ygjVo7zw2CzDJ/smfJJ/7eqlGueNA2ft/h3PtpdwB+X2qiit9loNJPcbNrvjKRlEl94dPt/ZdwB+X2qga/40LN/p3h7gY/5Bdx/wDJVFFF2NxXYV/EHjUx833hvqOmkzjoeP8Al6pW8ReN2UIdQ8OfvOp/smf0/wCvmiikgYreJfG4jY/bvDZCjp/ZM/OP+3msfVm1vUJ4Wu4/Ckk24Ms39jzq6soIByLnJIBOPSiijlT3KVWdN80HZ+RmaRo/jXSHddH8aQW0bAYimsZ7hUAIJCiS5OMgY+ldLFrfxBhi23OueHLnnqdElQ8tkdLnsMD8KKKmMIxtY1r4urXv7R387K/32uTf8JF42SQbb/w5855/4lM/XHX/AI+ak/4STxx/0EPDf/gpn/8AkmiiqMURxeIvGyu6Lf8AhzAAPOlTnr/29e1Sf8JJ44/6CHhv/wAFM/8A8k0UUMI7B/wknjj/AKCHhv8A8FM//wAk0f8ACSeOP+gh4b/8FM//AMk0UUDGReI/G+Di/wDDn3j/AMwmf1/6+af/AMJJ44/6CHhv/wAFM/8A8k0UUMS2D/hI/G//AEEPDf8A4KJ//kmmjxL44LMv2/w3x/1CZ/8A5JoooGIviDxqrlxf+HMnrnSZ/wD5Kpw8ReNgSRf+G8nr/wASif8A+SaKKAsMbxF42+0Ift/hzO1v+YTP7f8ATzTj4m8ceYF+3+G+Rn/kEz//ACTRRQxLdjv+Ek8cf9BDw3/4KZ//AJJrkPGnj/4gWc0tna6joEDbEzLHpcu7Bz0zcHFFFYYiTjDQ4sxnKFBuLsVvB3ibx3NcTWkGpeHIJS26S5OjSvI+B3JuMmtbWIvHGpqIX8TaPvxnfLpEsoyPRDc7f0ooqaMFOmuYnL/4Cm1drvqvuehTTRfEkodtV1zS9TSQOPJl06dIgrqoZCq3IBHy5GehJxWrBeeItJto7PTB4Ts4FHCQaLMg+pxc8n3ooq50oRWiPTr4qtWpcs5adun3bEkev+MsN/pvh37v/QKn/wDkmo21zxewwbvw4R3H9lT8/wDkzRRWLirbHCtNhX1rxiHIW+8PD/uFz/8AyTTT4g8aK237f4eIxnnSpv8A5JooqJxSi2jSnFSnZokufEHjfUtIvLGTUvDyJPC8DMNJmJAdSpI/0n3rNs9S8ZaTobWcOqaFItrAscbPpcxICRqo/wCXnHbP1NFFenhm7fcZz1WppR+IPGTRq323w6MgH/kFT/8AyTS/294y/wCf7w7/AOCqf/5JoorouybIP7e8Zf8AP94d/wDBVP8A/JNH9veMv+f7w7/4Kp//AJJoooux2Qf294y/5/vDv/gqn/8Akmj+3vGX/P8AeHf/AAVT/wDyTRRRdhZB/b3jL/n+8O/+Cqf/AOSaP7e8Zf8AP94d/wDBVP8A/JNFFF2FkH9veMv+f7w7/wCCqf8A+SaP7e8Zf8/3h3/wVT//ACTRRRdhZB/b3jL/AJ/vDv8A4Kp//kmj+3vGX/P94d/8FU//AMk0UUXYWQf294y/5/vDv/gqn/8Akmj+3vGX/P8AeHf/AAVT/wDyTRRRdhZB/b3jL/n+8O/+Cqf/AOSaP7e8Zf8AP94d/wDBVP8A/JNFFF2FkH9veMv+f7w7/wCCqf8A+SaP7e8Zf8/3h3/wVT//ACTRRRdhZB/b3jL/AJ/vDv8A4Kp//kmj+3vGX/P94d/8FU//AMk0UUXYWQf294y/5/vDv/gqn/8Akmj+3vGX/P8AeHf/AAVT/wDyTRRRdhZB/b3jL/n+8O/+Cqf/AOSaP7e8Zf8AP94d/wDBVP8A/JNFFF2FkH9veMv+f7w7/wCCqf8A+SaP7e8Zf8/3h3/wVT//ACTRRRdhZB/b3jL/AJ/vDv8A4Kp//kmj+3vGX/P94d/8FU//AMk0UUXYWQf294y/5/vDv/gqn/8Akmj+3vGX/P8AeHf/AAVT/wDyTRRRdhZB/b3jL/n+8O/+Cqf/AOSaP7e8Zf8AP94d/wDBVP8A/JNFFF2FkH9veMv+f7w7/wCCqf8A+SaVfEHjNWDfbfDvBz/yCp//AJJooouwsj0T4Zaa+j+AtH02S4W4eG3G6VY9gYkkkhcnA56ZP1ooorke51rY/9k=">
            <a:extLst>
              <a:ext uri="{FF2B5EF4-FFF2-40B4-BE49-F238E27FC236}">
                <a16:creationId xmlns:a16="http://schemas.microsoft.com/office/drawing/2014/main" id="{0F66194F-DF69-4FA0-B649-16B956004A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6725" y="467362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Title 11">
            <a:extLst>
              <a:ext uri="{FF2B5EF4-FFF2-40B4-BE49-F238E27FC236}">
                <a16:creationId xmlns:a16="http://schemas.microsoft.com/office/drawing/2014/main" id="{CC09E6C6-1F78-4A8D-B66A-93D8FE3E0EA2}"/>
              </a:ext>
            </a:extLst>
          </p:cNvPr>
          <p:cNvSpPr txBox="1">
            <a:spLocks/>
          </p:cNvSpPr>
          <p:nvPr/>
        </p:nvSpPr>
        <p:spPr>
          <a:xfrm>
            <a:off x="110010" y="170503"/>
            <a:ext cx="5318637" cy="906463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5486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accent5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GB" dirty="0"/>
              <a:t>About the Site</a:t>
            </a:r>
            <a:br>
              <a:rPr lang="en-GB" dirty="0"/>
            </a:br>
            <a:r>
              <a:rPr lang="en-GB" dirty="0" err="1">
                <a:solidFill>
                  <a:schemeClr val="accent1"/>
                </a:solidFill>
              </a:rPr>
              <a:t>Site</a:t>
            </a:r>
            <a:r>
              <a:rPr lang="en-GB" dirty="0">
                <a:solidFill>
                  <a:schemeClr val="accent1"/>
                </a:solidFill>
              </a:rPr>
              <a:t> Location &amp; Potential</a:t>
            </a:r>
            <a:br>
              <a:rPr lang="en-GB" dirty="0"/>
            </a:br>
            <a:endParaRPr lang="en-GB" dirty="0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86A110F0-686E-4E0A-9EA8-6C2CCC31C235}"/>
              </a:ext>
            </a:extLst>
          </p:cNvPr>
          <p:cNvSpPr txBox="1">
            <a:spLocks/>
          </p:cNvSpPr>
          <p:nvPr/>
        </p:nvSpPr>
        <p:spPr>
          <a:xfrm>
            <a:off x="166441" y="1593413"/>
            <a:ext cx="5318637" cy="48690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15993" indent="-215993" algn="l" defTabSz="54861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accent5"/>
                </a:solidFill>
                <a:latin typeface="Arial"/>
                <a:ea typeface="+mn-ea"/>
                <a:cs typeface="Arial"/>
              </a:defRPr>
            </a:lvl1pPr>
            <a:lvl2pPr marL="473075" indent="-236538" algn="l" defTabSz="54861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Arial" panose="020B0604020202020204" pitchFamily="34" charset="0"/>
              <a:buChar char="-"/>
              <a:defRPr sz="1800" kern="1200">
                <a:solidFill>
                  <a:schemeClr val="accent5"/>
                </a:solidFill>
                <a:latin typeface="Arial"/>
                <a:ea typeface="+mn-ea"/>
                <a:cs typeface="Arial"/>
              </a:defRPr>
            </a:lvl2pPr>
            <a:lvl3pPr marL="691176" indent="-194304" algn="l" defTabSz="54861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Arial"/>
                <a:ea typeface="+mn-ea"/>
                <a:cs typeface="Arial"/>
              </a:defRPr>
            </a:lvl3pPr>
            <a:lvl4pPr marL="691200" indent="-194400" algn="l" defTabSz="548610" rtl="0" eaLnBrk="1" latinLnBrk="0" hangingPunct="1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Arial"/>
                <a:ea typeface="+mn-ea"/>
                <a:cs typeface="Arial"/>
              </a:defRPr>
            </a:lvl4pPr>
            <a:lvl5pPr marL="691200" indent="-194400" algn="l" defTabSz="548610" rtl="0" eaLnBrk="1" latinLnBrk="0" hangingPunct="1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Arial"/>
                <a:ea typeface="+mn-ea"/>
                <a:cs typeface="Arial"/>
              </a:defRPr>
            </a:lvl5pPr>
            <a:lvl6pPr marL="691200" indent="-194400" algn="l" defTabSz="548610" rtl="0" eaLnBrk="1" latinLnBrk="0" hangingPunct="1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6pPr>
            <a:lvl7pPr marL="691200" indent="-194400" algn="l" defTabSz="548610" rtl="0" eaLnBrk="1" latinLnBrk="0" hangingPunct="1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7pPr>
            <a:lvl8pPr marL="691200" indent="-194400" algn="l" defTabSz="548610" rtl="0" eaLnBrk="1" latinLnBrk="0" hangingPunct="1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8pPr>
            <a:lvl9pPr marL="691200" indent="-194400" algn="l" defTabSz="548610" rtl="0" eaLnBrk="1" latinLnBrk="0" hangingPunct="1">
              <a:spcBef>
                <a:spcPts val="600"/>
              </a:spcBef>
              <a:buClr>
                <a:schemeClr val="bg2"/>
              </a:buClr>
              <a:buFont typeface="Arial"/>
              <a:buChar char="•"/>
              <a:defRPr sz="16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indent="-215900">
              <a:spcBef>
                <a:spcPts val="600"/>
              </a:spcBef>
            </a:pPr>
            <a:r>
              <a:rPr lang="en-GB" sz="1800" dirty="0"/>
              <a:t>The project team are continuing to refine the design of the wind farm based on findings of the ongoing baseline studies.</a:t>
            </a:r>
            <a:endParaRPr lang="en-US" sz="1800"/>
          </a:p>
          <a:p>
            <a:pPr marL="0" indent="0">
              <a:spcBef>
                <a:spcPts val="600"/>
              </a:spcBef>
              <a:buNone/>
            </a:pPr>
            <a:endParaRPr lang="en-GB" sz="1800" dirty="0"/>
          </a:p>
          <a:p>
            <a:pPr marL="215900" indent="-215900">
              <a:spcBef>
                <a:spcPts val="600"/>
              </a:spcBef>
            </a:pPr>
            <a:r>
              <a:rPr lang="en-GB" sz="1800" dirty="0"/>
              <a:t>The proposed scoping layout for 25 turbines is shown on the right.</a:t>
            </a:r>
          </a:p>
          <a:p>
            <a:pPr marL="215900" indent="-215900">
              <a:spcBef>
                <a:spcPts val="600"/>
              </a:spcBef>
            </a:pPr>
            <a:endParaRPr lang="en-GB" sz="1800" dirty="0"/>
          </a:p>
          <a:p>
            <a:pPr marL="215900" indent="-215900">
              <a:spcBef>
                <a:spcPts val="600"/>
              </a:spcBef>
            </a:pPr>
            <a:r>
              <a:rPr lang="en-GB" sz="1800" dirty="0"/>
              <a:t>Turbine numbers, tip heights and locations are still to be fixed.</a:t>
            </a:r>
          </a:p>
          <a:p>
            <a:pPr marL="215900" indent="-215900">
              <a:spcBef>
                <a:spcPts val="600"/>
              </a:spcBef>
            </a:pPr>
            <a:endParaRPr lang="en-GB" sz="1800" dirty="0"/>
          </a:p>
          <a:p>
            <a:pPr marL="215900" indent="-215900">
              <a:spcBef>
                <a:spcPts val="600"/>
              </a:spcBef>
            </a:pPr>
            <a:r>
              <a:rPr lang="en-GB" sz="1800" dirty="0"/>
              <a:t>The layout will be finalised following  completion of studies and community consultation feedback.</a:t>
            </a:r>
          </a:p>
          <a:p>
            <a:pPr marL="215900" indent="-215900">
              <a:spcBef>
                <a:spcPts val="600"/>
              </a:spcBef>
            </a:pPr>
            <a:endParaRPr lang="en-GB" dirty="0"/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endParaRPr lang="en-GB" dirty="0"/>
          </a:p>
        </p:txBody>
      </p:sp>
      <p:pic>
        <p:nvPicPr>
          <p:cNvPr id="8" name="Picture 11" descr="Chart, map&#10;&#10;Description automatically generated">
            <a:extLst>
              <a:ext uri="{FF2B5EF4-FFF2-40B4-BE49-F238E27FC236}">
                <a16:creationId xmlns:a16="http://schemas.microsoft.com/office/drawing/2014/main" id="{D662BD6F-2465-D878-C062-F612E466CC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37634" y="1269703"/>
            <a:ext cx="5612859" cy="5477805"/>
          </a:xfrm>
          <a:prstGeom prst="rect">
            <a:avLst/>
          </a:prstGeom>
        </p:spPr>
      </p:pic>
      <p:pic>
        <p:nvPicPr>
          <p:cNvPr id="12" name="Picture 1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1597D3C-9D06-AB74-58F0-53506780F96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39053" y="265181"/>
            <a:ext cx="2724150" cy="847725"/>
          </a:xfrm>
          <a:prstGeom prst="rect">
            <a:avLst/>
          </a:prstGeom>
        </p:spPr>
      </p:pic>
      <p:pic>
        <p:nvPicPr>
          <p:cNvPr id="13" name="Picture 13">
            <a:extLst>
              <a:ext uri="{FF2B5EF4-FFF2-40B4-BE49-F238E27FC236}">
                <a16:creationId xmlns:a16="http://schemas.microsoft.com/office/drawing/2014/main" id="{F72DD8DF-D0F8-CDA3-AD8A-A3503E87B46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62301" y="343204"/>
            <a:ext cx="2238375" cy="56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25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D88A4E1-52E8-412B-9038-51B10EAD30E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76532" y="1192216"/>
            <a:ext cx="7265870" cy="5070314"/>
          </a:xfrm>
        </p:spPr>
        <p:txBody>
          <a:bodyPr vert="horz" lIns="0" tIns="0" rIns="0" bIns="0" rtlCol="0" anchor="t">
            <a:noAutofit/>
          </a:bodyPr>
          <a:lstStyle/>
          <a:p>
            <a:pPr marL="215900" indent="-215900"/>
            <a:r>
              <a:rPr lang="en-GB" sz="1800" dirty="0"/>
              <a:t>Ongoing studies to learn more about the site.</a:t>
            </a:r>
            <a:endParaRPr lang="en-US" sz="1800"/>
          </a:p>
          <a:p>
            <a:pPr marL="215900" indent="-215900"/>
            <a:r>
              <a:rPr lang="en-GB" sz="1800" dirty="0"/>
              <a:t>Project website launched in March 22.</a:t>
            </a:r>
          </a:p>
          <a:p>
            <a:pPr marL="215900" indent="-215900"/>
            <a:r>
              <a:rPr lang="en-GB" sz="1800" dirty="0"/>
              <a:t>We are committed to engaging with the community throughout the project.</a:t>
            </a:r>
          </a:p>
          <a:p>
            <a:pPr marL="215900" indent="-215900"/>
            <a:r>
              <a:rPr lang="en-GB" sz="1800" dirty="0"/>
              <a:t>We look forward to hearing your suggestions on how to let as many local residents as possible know about the project.</a:t>
            </a:r>
          </a:p>
          <a:p>
            <a:pPr marL="215900" indent="-215900"/>
            <a:r>
              <a:rPr lang="en-GB" sz="1800" dirty="0"/>
              <a:t>If consented, a community benefit fund will be available for this project of £5k per MW of installed capacity.</a:t>
            </a:r>
          </a:p>
          <a:p>
            <a:pPr marL="215900" indent="-215900"/>
            <a:r>
              <a:rPr lang="en-GB" sz="1800" dirty="0"/>
              <a:t>And, if interest from within the community, we can explore a community investment opportunity.</a:t>
            </a:r>
          </a:p>
          <a:p>
            <a:pPr marL="215900" indent="-215900"/>
            <a:r>
              <a:rPr lang="en-GB" sz="1800" dirty="0"/>
              <a:t>We will continue to follow Scottish Government advice in relation to Covid-19. </a:t>
            </a:r>
            <a:r>
              <a:rPr lang="en-GB" dirty="0"/>
              <a:t> 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136F23-EF01-412E-A435-7F1E4B5C602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68588" y="3175"/>
            <a:ext cx="4623412" cy="6854825"/>
          </a:xfrm>
        </p:spPr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1B4883-F825-4002-8F0B-0CF53F954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790" y="147134"/>
            <a:ext cx="7038786" cy="907097"/>
          </a:xfrm>
        </p:spPr>
        <p:txBody>
          <a:bodyPr/>
          <a:lstStyle/>
          <a:p>
            <a:pPr algn="ctr"/>
            <a:r>
              <a:rPr lang="en-GB" dirty="0"/>
              <a:t>Next Step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CD6F18-C5F4-45B2-A0EA-5214914E06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2ACB19-C0E1-7345-B8BA-15A723BE30E5}" type="slidenum">
              <a:rPr lang="en-GB" smtClean="0"/>
              <a:pPr/>
              <a:t>4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AC42DF2-D381-4B78-83B3-EBF538AD80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8290" y="33337"/>
            <a:ext cx="3695700" cy="679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26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picture containing outdoor, grass, person, man&#10;&#10;Description automatically generated">
            <a:extLst>
              <a:ext uri="{FF2B5EF4-FFF2-40B4-BE49-F238E27FC236}">
                <a16:creationId xmlns:a16="http://schemas.microsoft.com/office/drawing/2014/main" id="{FCC6C389-FD31-4F88-8A6D-84039BC8A83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48" y="2874"/>
            <a:ext cx="12192000" cy="6858000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AB5F144-0AA1-4F3F-9208-9E950BFBF401}"/>
              </a:ext>
            </a:extLst>
          </p:cNvPr>
          <p:cNvSpPr txBox="1"/>
          <p:nvPr/>
        </p:nvSpPr>
        <p:spPr>
          <a:xfrm>
            <a:off x="1555553" y="88114"/>
            <a:ext cx="4540299" cy="3964162"/>
          </a:xfrm>
          <a:prstGeom prst="rect">
            <a:avLst/>
          </a:prstGeom>
          <a:noFill/>
          <a:ln w="6350" cap="rnd">
            <a:noFill/>
            <a:prstDash val="sysDot"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 dirty="0">
                <a:solidFill>
                  <a:srgbClr val="00B0DC"/>
                </a:solidFill>
                <a:latin typeface="Arial" pitchFamily="34" charset="0"/>
                <a:cs typeface="Arial" pitchFamily="34" charset="0"/>
              </a:rPr>
              <a:t>The Appin Project Team</a:t>
            </a:r>
          </a:p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400" dirty="0">
                <a:latin typeface="Arial" pitchFamily="34" charset="0"/>
                <a:cs typeface="Arial" pitchFamily="34" charset="0"/>
              </a:rPr>
              <a:t>Jess Antas</a:t>
            </a:r>
            <a:br>
              <a:rPr lang="en-GB" sz="1400" dirty="0">
                <a:latin typeface="Arial" pitchFamily="34" charset="0"/>
                <a:cs typeface="Arial" pitchFamily="34" charset="0"/>
              </a:rPr>
            </a:br>
            <a:r>
              <a:rPr lang="en-GB" sz="1400" dirty="0">
                <a:solidFill>
                  <a:srgbClr val="BBB3B0"/>
                </a:solidFill>
                <a:latin typeface="Arial" pitchFamily="34" charset="0"/>
                <a:cs typeface="Arial" pitchFamily="34" charset="0"/>
                <a:hlinkClick r:id="rId4"/>
              </a:rPr>
              <a:t>jess.antas@statkraft.com</a:t>
            </a:r>
            <a:endParaRPr lang="en-GB" sz="1400" dirty="0">
              <a:solidFill>
                <a:srgbClr val="BBB3B0"/>
              </a:solidFill>
              <a:latin typeface="Arial" pitchFamily="34" charset="0"/>
              <a:cs typeface="Arial" pitchFamily="34" charset="0"/>
            </a:endParaRPr>
          </a:p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400" dirty="0">
                <a:latin typeface="Arial"/>
                <a:cs typeface="Arial"/>
              </a:rPr>
              <a:t>Lloyd Godwin</a:t>
            </a:r>
            <a:br>
              <a:rPr lang="en-GB" sz="1400" dirty="0">
                <a:latin typeface="Arial" pitchFamily="34" charset="0"/>
                <a:cs typeface="Arial" pitchFamily="34" charset="0"/>
              </a:rPr>
            </a:br>
            <a:r>
              <a:rPr lang="en-GB" sz="1400" dirty="0">
                <a:solidFill>
                  <a:srgbClr val="BBB3B0"/>
                </a:solidFill>
                <a:latin typeface="Arial"/>
                <a:cs typeface="Arial"/>
                <a:hlinkClick r:id="rId5"/>
              </a:rPr>
              <a:t>Lloyd.godwin@statkraft.com</a:t>
            </a:r>
            <a:endParaRPr lang="en-GB" sz="1400">
              <a:solidFill>
                <a:srgbClr val="BBB3B0"/>
              </a:solidFill>
              <a:latin typeface="Arial" pitchFamily="34" charset="0"/>
              <a:cs typeface="Arial" pitchFamily="34" charset="0"/>
              <a:hlinkClick r:id="" action="ppaction://noaction"/>
            </a:endParaRPr>
          </a:p>
          <a:p>
            <a:pPr>
              <a:spcBef>
                <a:spcPts val="600"/>
              </a:spcBef>
            </a:pPr>
            <a:r>
              <a:rPr lang="en-US" sz="1400" dirty="0">
                <a:latin typeface="Arial"/>
                <a:cs typeface="Arial"/>
              </a:rPr>
              <a:t>Ruth Semple </a:t>
            </a:r>
            <a:br>
              <a:rPr lang="en-US" sz="1400" dirty="0">
                <a:latin typeface="Arial" pitchFamily="34" charset="0"/>
                <a:cs typeface="Arial" pitchFamily="34" charset="0"/>
              </a:rPr>
            </a:br>
            <a:r>
              <a:rPr lang="en-US" sz="1400" dirty="0">
                <a:latin typeface="Arial"/>
                <a:cs typeface="Arial"/>
                <a:hlinkClick r:id="rId6"/>
              </a:rPr>
              <a:t>ruth.semple@statkraft.com</a:t>
            </a:r>
            <a:endParaRPr lang="en-US" sz="1400" dirty="0">
              <a:latin typeface="Arial"/>
              <a:cs typeface="Arial"/>
            </a:endParaRPr>
          </a:p>
          <a:p>
            <a:pPr>
              <a:spcBef>
                <a:spcPts val="600"/>
              </a:spcBef>
            </a:pPr>
            <a:r>
              <a:rPr lang="en-US" sz="1400" dirty="0">
                <a:latin typeface="Arial"/>
                <a:cs typeface="Arial"/>
              </a:rPr>
              <a:t>Doug Wilson</a:t>
            </a:r>
          </a:p>
          <a:p>
            <a:pPr>
              <a:spcBef>
                <a:spcPts val="600"/>
              </a:spcBef>
            </a:pPr>
            <a:r>
              <a:rPr lang="en-US" sz="1400" dirty="0">
                <a:latin typeface="Arial"/>
                <a:cs typeface="Arial"/>
                <a:hlinkClick r:id="rId7"/>
              </a:rPr>
              <a:t>Doug@smithyhouseassociates.co.uk</a:t>
            </a:r>
            <a:endParaRPr lang="en-US" sz="1400" dirty="0">
              <a:latin typeface="Arial"/>
              <a:cs typeface="Arial"/>
            </a:endParaRPr>
          </a:p>
          <a:p>
            <a:pPr>
              <a:spcBef>
                <a:spcPts val="600"/>
              </a:spcBef>
            </a:pPr>
            <a:endParaRPr lang="en-US" sz="1400" dirty="0">
              <a:latin typeface="Arial"/>
              <a:cs typeface="Arial"/>
            </a:endParaRPr>
          </a:p>
          <a:p>
            <a:pPr>
              <a:spcBef>
                <a:spcPts val="600"/>
              </a:spcBef>
            </a:pPr>
            <a:endParaRPr lang="en-US" sz="1400" dirty="0">
              <a:latin typeface="Arial"/>
              <a:cs typeface="Arial"/>
            </a:endParaRPr>
          </a:p>
          <a:p>
            <a:pPr>
              <a:spcBef>
                <a:spcPts val="600"/>
              </a:spcBef>
            </a:pPr>
            <a:endParaRPr lang="en-GB" dirty="0">
              <a:latin typeface="Arial"/>
              <a:cs typeface="Arial"/>
            </a:endParaRPr>
          </a:p>
          <a:p>
            <a:pPr>
              <a:spcBef>
                <a:spcPts val="600"/>
              </a:spcBef>
            </a:pPr>
            <a:endParaRPr lang="en-GB" sz="1400" dirty="0">
              <a:solidFill>
                <a:srgbClr val="BBB3B0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600"/>
              </a:spcBef>
              <a:buClr>
                <a:srgbClr val="00B0DC"/>
              </a:buClr>
              <a:buSzPct val="120000"/>
            </a:pPr>
            <a:endParaRPr lang="en-GB" sz="1600" dirty="0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BE8539-40BD-446A-B7BB-62D33D043FD3}"/>
              </a:ext>
            </a:extLst>
          </p:cNvPr>
          <p:cNvSpPr txBox="1"/>
          <p:nvPr/>
        </p:nvSpPr>
        <p:spPr>
          <a:xfrm>
            <a:off x="1526796" y="4328719"/>
            <a:ext cx="191269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statkraft.co.u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4F6C70-8B2A-4D6D-BFC0-D84ED9D151FE}"/>
              </a:ext>
            </a:extLst>
          </p:cNvPr>
          <p:cNvSpPr txBox="1"/>
          <p:nvPr/>
        </p:nvSpPr>
        <p:spPr>
          <a:xfrm>
            <a:off x="1526796" y="2335166"/>
            <a:ext cx="4043494" cy="569387"/>
          </a:xfrm>
          <a:prstGeom prst="rect">
            <a:avLst/>
          </a:prstGeom>
          <a:noFill/>
          <a:ln w="6350" cap="rnd">
            <a:noFill/>
            <a:prstDash val="sysDot"/>
          </a:ln>
        </p:spPr>
        <p:txBody>
          <a:bodyPr wrap="square" lIns="0" tIns="0" rIns="0" bIns="0" rtlCol="0" anchor="t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endParaRPr lang="en-GB" sz="1600" dirty="0">
              <a:solidFill>
                <a:srgbClr val="00B0DC"/>
              </a:solidFill>
              <a:latin typeface="Arial"/>
              <a:cs typeface="Arial"/>
            </a:endParaRPr>
          </a:p>
          <a:p>
            <a:pPr algn="l"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GB" sz="1600" dirty="0">
                <a:solidFill>
                  <a:srgbClr val="00B0F0"/>
                </a:solidFill>
                <a:latin typeface="Arial"/>
                <a:cs typeface="Arial"/>
              </a:rPr>
              <a:t>www.appinwindfarm.co.uk</a:t>
            </a:r>
            <a:endParaRPr lang="en-GB" sz="1600" dirty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566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LGKkGSW.nUQn29AJI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y6T4K9QeiSCQ9qyTOJ3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U1lnvaStSRu0yU3Rye0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7OoG__aYes7Cb05T4fr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7moVpmrIMXSQVy1YkW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sMngMSDCXruq1V5rqlw"/>
</p:tagLst>
</file>

<file path=ppt/theme/theme1.xml><?xml version="1.0" encoding="utf-8"?>
<a:theme xmlns:a="http://schemas.openxmlformats.org/drawingml/2006/main" name="Statkraft presentation template UK">
  <a:themeElements>
    <a:clrScheme name="Statkraft 2019">
      <a:dk1>
        <a:srgbClr val="000000"/>
      </a:dk1>
      <a:lt1>
        <a:srgbClr val="FFFFFF"/>
      </a:lt1>
      <a:dk2>
        <a:srgbClr val="005088"/>
      </a:dk2>
      <a:lt2>
        <a:srgbClr val="00B0DC"/>
      </a:lt2>
      <a:accent1>
        <a:srgbClr val="00B0DC"/>
      </a:accent1>
      <a:accent2>
        <a:srgbClr val="80DAF3"/>
      </a:accent2>
      <a:accent3>
        <a:srgbClr val="E84E0F"/>
      </a:accent3>
      <a:accent4>
        <a:srgbClr val="F0D100"/>
      </a:accent4>
      <a:accent5>
        <a:srgbClr val="7A6F69"/>
      </a:accent5>
      <a:accent6>
        <a:srgbClr val="BBB3B0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ap="flat" cmpd="sng">
          <a:solidFill>
            <a:schemeClr val="accent6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600"/>
          </a:spcBef>
          <a:buClr>
            <a:schemeClr val="accent1"/>
          </a:buClr>
          <a:buSzPct val="120000"/>
          <a:defRPr sz="1600" smtClean="0">
            <a:solidFill>
              <a:schemeClr val="accent5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398B9B8E-E96A-4BBE-B19E-CE10FDCA28E9}" vid="{D882F95D-F7E8-4570-A72B-A939B537D401}"/>
    </a:ext>
  </a:extLst>
</a:theme>
</file>

<file path=ppt/theme/theme2.xml><?xml version="1.0" encoding="utf-8"?>
<a:theme xmlns:a="http://schemas.openxmlformats.org/drawingml/2006/main" name="Office Theme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Statkraft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{listid:Accounting}">English</Language>
    <Document_x0020_type xmlns="{listid:Accounting}">Memo</Document_x0020_type>
    <Status xmlns="{listid:Accounting}">In Progress</Status>
    <Classification xmlns="{listid:Accounting}">Internal</Classification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475DDFC545F0489CCB954A3CAEB3AF" ma:contentTypeVersion="8" ma:contentTypeDescription="Create a new document." ma:contentTypeScope="" ma:versionID="dedea74b74b1373ca1ddf1cf19159d61">
  <xsd:schema xmlns:xsd="http://www.w3.org/2001/XMLSchema" xmlns:xs="http://www.w3.org/2001/XMLSchema" xmlns:p="http://schemas.microsoft.com/office/2006/metadata/properties" xmlns:ns2="{listid:Accounting}" xmlns:ns3="b73ccfba-f4d9-4858-b13e-2b9acc49e718" xmlns:ns4="dd48c26d-b1df-431a-913c-92fd9edfaa63" targetNamespace="http://schemas.microsoft.com/office/2006/metadata/properties" ma:root="true" ma:fieldsID="1d14b8be217765d7af8e96d0f5bd25ca" ns2:_="" ns3:_="" ns4:_="">
    <xsd:import namespace="{listid:Accounting}"/>
    <xsd:import namespace="b73ccfba-f4d9-4858-b13e-2b9acc49e718"/>
    <xsd:import namespace="dd48c26d-b1df-431a-913c-92fd9edfaa63"/>
    <xsd:element name="properties">
      <xsd:complexType>
        <xsd:sequence>
          <xsd:element name="documentManagement">
            <xsd:complexType>
              <xsd:all>
                <xsd:element ref="ns2:Classification" minOccurs="0"/>
                <xsd:element ref="ns2:Document_x0020_type" minOccurs="0"/>
                <xsd:element ref="ns2:Language" minOccurs="0"/>
                <xsd:element ref="ns2:Status" minOccurs="0"/>
                <xsd:element ref="ns3:SharedWithUsers" minOccurs="0"/>
                <xsd:element ref="ns3:SharedWithDetails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{listid:Accounting}" elementFormDefault="qualified">
    <xsd:import namespace="http://schemas.microsoft.com/office/2006/documentManagement/types"/>
    <xsd:import namespace="http://schemas.microsoft.com/office/infopath/2007/PartnerControls"/>
    <xsd:element name="Classification" ma:index="8" nillable="true" ma:displayName="Classification" ma:default="Internal" ma:format="Dropdown" ma:internalName="Classification">
      <xsd:simpleType>
        <xsd:restriction base="dms:Choice">
          <xsd:enumeration value="Confidential"/>
          <xsd:enumeration value="Internal"/>
          <xsd:enumeration value="Open"/>
        </xsd:restriction>
      </xsd:simpleType>
    </xsd:element>
    <xsd:element name="Document_x0020_type" ma:index="9" nillable="true" ma:displayName="Document type" ma:default="Memo" ma:format="Dropdown" ma:internalName="Document_x0020_type">
      <xsd:simpleType>
        <xsd:restriction base="dms:Choice">
          <xsd:enumeration value="Agreement"/>
          <xsd:enumeration value="Budget"/>
          <xsd:enumeration value="Call for meeting"/>
          <xsd:enumeration value="External correspondence"/>
          <xsd:enumeration value="Guideline"/>
          <xsd:enumeration value="Image"/>
          <xsd:enumeration value="Internal correspondence"/>
          <xsd:enumeration value="Map"/>
          <xsd:enumeration value="Memo"/>
          <xsd:enumeration value="Minutes of meeting"/>
          <xsd:enumeration value="Plan"/>
          <xsd:enumeration value="Presentation"/>
          <xsd:enumeration value="Report"/>
          <xsd:enumeration value="Specification"/>
          <xsd:enumeration value="Technical Document"/>
          <xsd:enumeration value="Video"/>
        </xsd:restriction>
      </xsd:simpleType>
    </xsd:element>
    <xsd:element name="Language" ma:index="10" nillable="true" ma:displayName="Language" ma:default="English" ma:format="Dropdown" ma:internalName="Language">
      <xsd:simpleType>
        <xsd:restriction base="dms:Choice">
          <xsd:enumeration value="Albanian"/>
          <xsd:enumeration value="Dutch"/>
          <xsd:enumeration value="English"/>
          <xsd:enumeration value="French"/>
          <xsd:enumeration value="German"/>
          <xsd:enumeration value="Hindi"/>
          <xsd:enumeration value="Nepalese"/>
          <xsd:enumeration value="Norwegian"/>
          <xsd:enumeration value="Portuguese"/>
          <xsd:enumeration value="Spanish"/>
          <xsd:enumeration value="Swedish"/>
          <xsd:enumeration value="Turkish"/>
        </xsd:restriction>
      </xsd:simpleType>
    </xsd:element>
    <xsd:element name="Status" ma:index="11" nillable="true" ma:displayName="Status" ma:default="In Progress" ma:format="Dropdown" ma:internalName="Status">
      <xsd:simpleType>
        <xsd:restriction base="dms:Choice"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3ccfba-f4d9-4858-b13e-2b9acc49e71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48c26d-b1df-431a-913c-92fd9edfaa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DE5B9B7-EEE9-44EB-987F-004CF4486C7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34155EE-52B4-407D-8EF2-9BDDB6C0A9A7}">
  <ds:schemaRefs>
    <ds:schemaRef ds:uri="http://www.w3.org/XML/1998/namespace"/>
    <ds:schemaRef ds:uri="{listid:Accounting}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17a0c40a-32ba-421c-9c61-c408fe6503aa"/>
    <ds:schemaRef ds:uri="http://schemas.microsoft.com/office/infopath/2007/PartnerControl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411B1D89-5C6F-430D-ACB6-CA36529ED172}"/>
</file>

<file path=docProps/app.xml><?xml version="1.0" encoding="utf-8"?>
<Properties xmlns="http://schemas.openxmlformats.org/officeDocument/2006/extended-properties" xmlns:vt="http://schemas.openxmlformats.org/officeDocument/2006/docPropsVTypes">
  <Template>UK Example presentation</Template>
  <TotalTime>0</TotalTime>
  <Words>347</Words>
  <Application>Microsoft Office PowerPoint</Application>
  <PresentationFormat>Widescreen</PresentationFormat>
  <Paragraphs>53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Statkraft presentation template UK</vt:lpstr>
      <vt:lpstr>think-cell Slide</vt:lpstr>
      <vt:lpstr>Appin Wind Farm   www.appinwindfarm.co.uk</vt:lpstr>
      <vt:lpstr>About the Site Site Location &amp; Potential </vt:lpstr>
      <vt:lpstr>PowerPoint Presentation</vt:lpstr>
      <vt:lpstr>Next Steps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pin Wind Farm</dc:title>
  <dc:creator/>
  <cp:revision>411</cp:revision>
  <dcterms:created xsi:type="dcterms:W3CDTF">2020-04-03T10:23:36Z</dcterms:created>
  <dcterms:modified xsi:type="dcterms:W3CDTF">2022-06-15T19:00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475DDFC545F0489CCB954A3CAEB3AF</vt:lpwstr>
  </property>
  <property fmtid="{D5CDD505-2E9C-101B-9397-08002B2CF9AE}" pid="3" name="MSIP_Label_26ba45e5-5323-4bed-85ff-ee9151db239f_Enabled">
    <vt:lpwstr>true</vt:lpwstr>
  </property>
  <property fmtid="{D5CDD505-2E9C-101B-9397-08002B2CF9AE}" pid="4" name="MSIP_Label_26ba45e5-5323-4bed-85ff-ee9151db239f_SetDate">
    <vt:lpwstr>2021-03-10T10:24:09Z</vt:lpwstr>
  </property>
  <property fmtid="{D5CDD505-2E9C-101B-9397-08002B2CF9AE}" pid="5" name="MSIP_Label_26ba45e5-5323-4bed-85ff-ee9151db239f_Method">
    <vt:lpwstr>Standard</vt:lpwstr>
  </property>
  <property fmtid="{D5CDD505-2E9C-101B-9397-08002B2CF9AE}" pid="6" name="MSIP_Label_26ba45e5-5323-4bed-85ff-ee9151db239f_Name">
    <vt:lpwstr>26ba45e5-5323-4bed-85ff-ee9151db239f</vt:lpwstr>
  </property>
  <property fmtid="{D5CDD505-2E9C-101B-9397-08002B2CF9AE}" pid="7" name="MSIP_Label_26ba45e5-5323-4bed-85ff-ee9151db239f_SiteId">
    <vt:lpwstr>a40c0d68-338e-44ef-ab17-812ee42d12c7</vt:lpwstr>
  </property>
  <property fmtid="{D5CDD505-2E9C-101B-9397-08002B2CF9AE}" pid="8" name="MSIP_Label_26ba45e5-5323-4bed-85ff-ee9151db239f_ActionId">
    <vt:lpwstr>d61df117-cde7-444e-b72b-c4df67fae9d2</vt:lpwstr>
  </property>
  <property fmtid="{D5CDD505-2E9C-101B-9397-08002B2CF9AE}" pid="9" name="MSIP_Label_26ba45e5-5323-4bed-85ff-ee9151db239f_ContentBits">
    <vt:lpwstr>2</vt:lpwstr>
  </property>
</Properties>
</file>